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notesSlides/notesSlide1.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16"/>
  </p:notesMasterIdLst>
  <p:sldIdLst>
    <p:sldId id="257" r:id="rId2"/>
    <p:sldId id="308" r:id="rId3"/>
    <p:sldId id="289" r:id="rId4"/>
    <p:sldId id="319" r:id="rId5"/>
    <p:sldId id="316" r:id="rId6"/>
    <p:sldId id="320" r:id="rId7"/>
    <p:sldId id="321" r:id="rId8"/>
    <p:sldId id="317" r:id="rId9"/>
    <p:sldId id="264" r:id="rId10"/>
    <p:sldId id="297" r:id="rId11"/>
    <p:sldId id="313" r:id="rId12"/>
    <p:sldId id="318" r:id="rId13"/>
    <p:sldId id="309" r:id="rId14"/>
    <p:sldId id="260" r:id="rId15"/>
  </p:sldIdLst>
  <p:sldSz cx="12192000" cy="6858000"/>
  <p:notesSz cx="7102475" cy="9388475"/>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3B700"/>
    <a:srgbClr val="B4002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A7B1675-2B63-4CCA-BA98-58ED87916F92}" v="8" dt="2024-07-26T16:47:33.308"/>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8543" autoAdjust="0"/>
    <p:restoredTop sz="94660"/>
  </p:normalViewPr>
  <p:slideViewPr>
    <p:cSldViewPr snapToGrid="0">
      <p:cViewPr>
        <p:scale>
          <a:sx n="74" d="100"/>
          <a:sy n="74" d="100"/>
        </p:scale>
        <p:origin x="240" y="56"/>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viewProps" Target="viewProps.xml"/><Relationship Id="rId3" Type="http://schemas.openxmlformats.org/officeDocument/2006/relationships/slide" Target="slides/slide2.xml"/><Relationship Id="rId21" Type="http://schemas.microsoft.com/office/2016/11/relationships/changesInfo" Target="changesInfos/changesInfo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presProps" Target="presProps.xml"/><Relationship Id="rId2" Type="http://schemas.openxmlformats.org/officeDocument/2006/relationships/slide" Target="slides/slide1.xml"/><Relationship Id="rId16" Type="http://schemas.openxmlformats.org/officeDocument/2006/relationships/notesMaster" Target="notesMasters/notesMaster1.xml"/><Relationship Id="rId20"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slide" Target="slides/slide14.xml"/><Relationship Id="rId10" Type="http://schemas.openxmlformats.org/officeDocument/2006/relationships/slide" Target="slides/slide9.xml"/><Relationship Id="rId19"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microsoft.com/office/2015/10/relationships/revisionInfo" Target="revisionInfo.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Brown, Hayley (HA)" userId="3be75098-8bbf-4a29-97dc-aebe4077390b" providerId="ADAL" clId="{2A7B1675-2B63-4CCA-BA98-58ED87916F92}"/>
    <pc:docChg chg="undo custSel addSld delSld modSld sldOrd">
      <pc:chgData name="Brown, Hayley (HA)" userId="3be75098-8bbf-4a29-97dc-aebe4077390b" providerId="ADAL" clId="{2A7B1675-2B63-4CCA-BA98-58ED87916F92}" dt="2024-07-26T16:49:33.872" v="1225" actId="20577"/>
      <pc:docMkLst>
        <pc:docMk/>
      </pc:docMkLst>
      <pc:sldChg chg="addSp delSp modSp mod">
        <pc:chgData name="Brown, Hayley (HA)" userId="3be75098-8bbf-4a29-97dc-aebe4077390b" providerId="ADAL" clId="{2A7B1675-2B63-4CCA-BA98-58ED87916F92}" dt="2024-07-25T19:10:40.836" v="1087" actId="1076"/>
        <pc:sldMkLst>
          <pc:docMk/>
          <pc:sldMk cId="2591652230" sldId="257"/>
        </pc:sldMkLst>
        <pc:spChg chg="del">
          <ac:chgData name="Brown, Hayley (HA)" userId="3be75098-8bbf-4a29-97dc-aebe4077390b" providerId="ADAL" clId="{2A7B1675-2B63-4CCA-BA98-58ED87916F92}" dt="2024-07-25T19:09:47.132" v="1081" actId="478"/>
          <ac:spMkLst>
            <pc:docMk/>
            <pc:sldMk cId="2591652230" sldId="257"/>
            <ac:spMk id="6" creationId="{99E68C35-9D79-29EE-CA0B-167CA0CD5E66}"/>
          </ac:spMkLst>
        </pc:spChg>
        <pc:picChg chg="del">
          <ac:chgData name="Brown, Hayley (HA)" userId="3be75098-8bbf-4a29-97dc-aebe4077390b" providerId="ADAL" clId="{2A7B1675-2B63-4CCA-BA98-58ED87916F92}" dt="2024-07-25T19:10:21.114" v="1082" actId="478"/>
          <ac:picMkLst>
            <pc:docMk/>
            <pc:sldMk cId="2591652230" sldId="257"/>
            <ac:picMk id="9" creationId="{AC03761E-B344-9823-1714-D4EB5B84468F}"/>
          </ac:picMkLst>
        </pc:picChg>
        <pc:picChg chg="add mod">
          <ac:chgData name="Brown, Hayley (HA)" userId="3be75098-8bbf-4a29-97dc-aebe4077390b" providerId="ADAL" clId="{2A7B1675-2B63-4CCA-BA98-58ED87916F92}" dt="2024-07-25T19:10:40.836" v="1087" actId="1076"/>
          <ac:picMkLst>
            <pc:docMk/>
            <pc:sldMk cId="2591652230" sldId="257"/>
            <ac:picMk id="10" creationId="{8C4DE5F6-0694-6E11-A512-555721D904F9}"/>
          </ac:picMkLst>
        </pc:picChg>
      </pc:sldChg>
      <pc:sldChg chg="addSp delSp modSp mod ord">
        <pc:chgData name="Brown, Hayley (HA)" userId="3be75098-8bbf-4a29-97dc-aebe4077390b" providerId="ADAL" clId="{2A7B1675-2B63-4CCA-BA98-58ED87916F92}" dt="2024-07-26T16:47:51.029" v="1218"/>
        <pc:sldMkLst>
          <pc:docMk/>
          <pc:sldMk cId="0" sldId="260"/>
        </pc:sldMkLst>
        <pc:spChg chg="add del mod">
          <ac:chgData name="Brown, Hayley (HA)" userId="3be75098-8bbf-4a29-97dc-aebe4077390b" providerId="ADAL" clId="{2A7B1675-2B63-4CCA-BA98-58ED87916F92}" dt="2024-07-26T16:47:46.458" v="1216" actId="478"/>
          <ac:spMkLst>
            <pc:docMk/>
            <pc:sldMk cId="0" sldId="260"/>
            <ac:spMk id="2" creationId="{0B70C6C6-574C-C3C9-6F71-5313E9551607}"/>
          </ac:spMkLst>
        </pc:spChg>
      </pc:sldChg>
      <pc:sldChg chg="ord">
        <pc:chgData name="Brown, Hayley (HA)" userId="3be75098-8bbf-4a29-97dc-aebe4077390b" providerId="ADAL" clId="{2A7B1675-2B63-4CCA-BA98-58ED87916F92}" dt="2024-07-24T18:33:23.142" v="799"/>
        <pc:sldMkLst>
          <pc:docMk/>
          <pc:sldMk cId="1250677427" sldId="309"/>
        </pc:sldMkLst>
      </pc:sldChg>
      <pc:sldChg chg="ord">
        <pc:chgData name="Brown, Hayley (HA)" userId="3be75098-8bbf-4a29-97dc-aebe4077390b" providerId="ADAL" clId="{2A7B1675-2B63-4CCA-BA98-58ED87916F92}" dt="2024-07-24T18:38:36.657" v="841"/>
        <pc:sldMkLst>
          <pc:docMk/>
          <pc:sldMk cId="149194942" sldId="313"/>
        </pc:sldMkLst>
      </pc:sldChg>
      <pc:sldChg chg="del">
        <pc:chgData name="Brown, Hayley (HA)" userId="3be75098-8bbf-4a29-97dc-aebe4077390b" providerId="ADAL" clId="{2A7B1675-2B63-4CCA-BA98-58ED87916F92}" dt="2024-07-24T18:38:38.674" v="842" actId="47"/>
        <pc:sldMkLst>
          <pc:docMk/>
          <pc:sldMk cId="3597922727" sldId="314"/>
        </pc:sldMkLst>
      </pc:sldChg>
      <pc:sldChg chg="modSp mod ord">
        <pc:chgData name="Brown, Hayley (HA)" userId="3be75098-8bbf-4a29-97dc-aebe4077390b" providerId="ADAL" clId="{2A7B1675-2B63-4CCA-BA98-58ED87916F92}" dt="2024-07-25T18:07:40.865" v="904" actId="20577"/>
        <pc:sldMkLst>
          <pc:docMk/>
          <pc:sldMk cId="4164378000" sldId="316"/>
        </pc:sldMkLst>
        <pc:spChg chg="mod">
          <ac:chgData name="Brown, Hayley (HA)" userId="3be75098-8bbf-4a29-97dc-aebe4077390b" providerId="ADAL" clId="{2A7B1675-2B63-4CCA-BA98-58ED87916F92}" dt="2024-07-24T18:24:05.047" v="200" actId="20577"/>
          <ac:spMkLst>
            <pc:docMk/>
            <pc:sldMk cId="4164378000" sldId="316"/>
            <ac:spMk id="2" creationId="{003E0DFA-32B9-2C1F-9F4C-DA5D19DCC0EE}"/>
          </ac:spMkLst>
        </pc:spChg>
        <pc:graphicFrameChg chg="mod modGraphic">
          <ac:chgData name="Brown, Hayley (HA)" userId="3be75098-8bbf-4a29-97dc-aebe4077390b" providerId="ADAL" clId="{2A7B1675-2B63-4CCA-BA98-58ED87916F92}" dt="2024-07-25T18:07:40.865" v="904" actId="20577"/>
          <ac:graphicFrameMkLst>
            <pc:docMk/>
            <pc:sldMk cId="4164378000" sldId="316"/>
            <ac:graphicFrameMk id="5" creationId="{06821F7C-AE73-13A1-254A-6BAB08D1191E}"/>
          </ac:graphicFrameMkLst>
        </pc:graphicFrameChg>
      </pc:sldChg>
      <pc:sldChg chg="addSp delSp modSp mod">
        <pc:chgData name="Brown, Hayley (HA)" userId="3be75098-8bbf-4a29-97dc-aebe4077390b" providerId="ADAL" clId="{2A7B1675-2B63-4CCA-BA98-58ED87916F92}" dt="2024-07-25T18:15:06.693" v="991" actId="1076"/>
        <pc:sldMkLst>
          <pc:docMk/>
          <pc:sldMk cId="1873116969" sldId="317"/>
        </pc:sldMkLst>
        <pc:spChg chg="del">
          <ac:chgData name="Brown, Hayley (HA)" userId="3be75098-8bbf-4a29-97dc-aebe4077390b" providerId="ADAL" clId="{2A7B1675-2B63-4CCA-BA98-58ED87916F92}" dt="2024-07-25T18:14:38.320" v="985" actId="478"/>
          <ac:spMkLst>
            <pc:docMk/>
            <pc:sldMk cId="1873116969" sldId="317"/>
            <ac:spMk id="5" creationId="{40BB8D61-E927-50D1-58B5-A9D0B4A225B2}"/>
          </ac:spMkLst>
        </pc:spChg>
        <pc:spChg chg="add del mod">
          <ac:chgData name="Brown, Hayley (HA)" userId="3be75098-8bbf-4a29-97dc-aebe4077390b" providerId="ADAL" clId="{2A7B1675-2B63-4CCA-BA98-58ED87916F92}" dt="2024-07-25T18:15:01.126" v="990" actId="478"/>
          <ac:spMkLst>
            <pc:docMk/>
            <pc:sldMk cId="1873116969" sldId="317"/>
            <ac:spMk id="6" creationId="{BA72EBB0-3F95-85A2-7F0D-8F688023671F}"/>
          </ac:spMkLst>
        </pc:spChg>
        <pc:spChg chg="mod">
          <ac:chgData name="Brown, Hayley (HA)" userId="3be75098-8bbf-4a29-97dc-aebe4077390b" providerId="ADAL" clId="{2A7B1675-2B63-4CCA-BA98-58ED87916F92}" dt="2024-07-25T18:14:56.776" v="989" actId="20577"/>
          <ac:spMkLst>
            <pc:docMk/>
            <pc:sldMk cId="1873116969" sldId="317"/>
            <ac:spMk id="15" creationId="{041E8F6D-904C-9603-3F2C-2FBD1F89AD20}"/>
          </ac:spMkLst>
        </pc:spChg>
        <pc:spChg chg="mod">
          <ac:chgData name="Brown, Hayley (HA)" userId="3be75098-8bbf-4a29-97dc-aebe4077390b" providerId="ADAL" clId="{2A7B1675-2B63-4CCA-BA98-58ED87916F92}" dt="2024-07-25T18:15:06.693" v="991" actId="1076"/>
          <ac:spMkLst>
            <pc:docMk/>
            <pc:sldMk cId="1873116969" sldId="317"/>
            <ac:spMk id="18" creationId="{7740F110-E263-1969-43B6-EA0BEFE4A197}"/>
          </ac:spMkLst>
        </pc:spChg>
      </pc:sldChg>
      <pc:sldChg chg="ord">
        <pc:chgData name="Brown, Hayley (HA)" userId="3be75098-8bbf-4a29-97dc-aebe4077390b" providerId="ADAL" clId="{2A7B1675-2B63-4CCA-BA98-58ED87916F92}" dt="2024-07-24T18:33:23.142" v="799"/>
        <pc:sldMkLst>
          <pc:docMk/>
          <pc:sldMk cId="918218282" sldId="318"/>
        </pc:sldMkLst>
      </pc:sldChg>
      <pc:sldChg chg="addSp delSp modSp add mod">
        <pc:chgData name="Brown, Hayley (HA)" userId="3be75098-8bbf-4a29-97dc-aebe4077390b" providerId="ADAL" clId="{2A7B1675-2B63-4CCA-BA98-58ED87916F92}" dt="2024-07-24T18:39:41.584" v="890" actId="20577"/>
        <pc:sldMkLst>
          <pc:docMk/>
          <pc:sldMk cId="1639715377" sldId="319"/>
        </pc:sldMkLst>
        <pc:spChg chg="mod">
          <ac:chgData name="Brown, Hayley (HA)" userId="3be75098-8bbf-4a29-97dc-aebe4077390b" providerId="ADAL" clId="{2A7B1675-2B63-4CCA-BA98-58ED87916F92}" dt="2024-07-24T18:22:06.325" v="41" actId="20577"/>
          <ac:spMkLst>
            <pc:docMk/>
            <pc:sldMk cId="1639715377" sldId="319"/>
            <ac:spMk id="2" creationId="{003E0DFA-32B9-2C1F-9F4C-DA5D19DCC0EE}"/>
          </ac:spMkLst>
        </pc:spChg>
        <pc:spChg chg="add mod">
          <ac:chgData name="Brown, Hayley (HA)" userId="3be75098-8bbf-4a29-97dc-aebe4077390b" providerId="ADAL" clId="{2A7B1675-2B63-4CCA-BA98-58ED87916F92}" dt="2024-07-24T18:39:41.584" v="890" actId="20577"/>
          <ac:spMkLst>
            <pc:docMk/>
            <pc:sldMk cId="1639715377" sldId="319"/>
            <ac:spMk id="4" creationId="{EF3C22C8-D69B-CF03-F3FD-AA84F1CBEFBB}"/>
          </ac:spMkLst>
        </pc:spChg>
        <pc:graphicFrameChg chg="del">
          <ac:chgData name="Brown, Hayley (HA)" userId="3be75098-8bbf-4a29-97dc-aebe4077390b" providerId="ADAL" clId="{2A7B1675-2B63-4CCA-BA98-58ED87916F92}" dt="2024-07-24T18:21:25.050" v="9" actId="478"/>
          <ac:graphicFrameMkLst>
            <pc:docMk/>
            <pc:sldMk cId="1639715377" sldId="319"/>
            <ac:graphicFrameMk id="5" creationId="{06821F7C-AE73-13A1-254A-6BAB08D1191E}"/>
          </ac:graphicFrameMkLst>
        </pc:graphicFrameChg>
      </pc:sldChg>
      <pc:sldChg chg="addSp delSp modSp add mod">
        <pc:chgData name="Brown, Hayley (HA)" userId="3be75098-8bbf-4a29-97dc-aebe4077390b" providerId="ADAL" clId="{2A7B1675-2B63-4CCA-BA98-58ED87916F92}" dt="2024-07-26T16:49:33.872" v="1225" actId="20577"/>
        <pc:sldMkLst>
          <pc:docMk/>
          <pc:sldMk cId="4188542297" sldId="320"/>
        </pc:sldMkLst>
        <pc:spChg chg="mod">
          <ac:chgData name="Brown, Hayley (HA)" userId="3be75098-8bbf-4a29-97dc-aebe4077390b" providerId="ADAL" clId="{2A7B1675-2B63-4CCA-BA98-58ED87916F92}" dt="2024-07-25T18:17:24.559" v="1080" actId="14100"/>
          <ac:spMkLst>
            <pc:docMk/>
            <pc:sldMk cId="4188542297" sldId="320"/>
            <ac:spMk id="2" creationId="{C28318D2-27CA-1093-FF78-5FA568EAE6A6}"/>
          </ac:spMkLst>
        </pc:spChg>
        <pc:spChg chg="mod">
          <ac:chgData name="Brown, Hayley (HA)" userId="3be75098-8bbf-4a29-97dc-aebe4077390b" providerId="ADAL" clId="{2A7B1675-2B63-4CCA-BA98-58ED87916F92}" dt="2024-07-26T16:49:33.872" v="1225" actId="20577"/>
          <ac:spMkLst>
            <pc:docMk/>
            <pc:sldMk cId="4188542297" sldId="320"/>
            <ac:spMk id="3" creationId="{524906C0-FE0A-0D9B-7E2C-BC148E7AA2C2}"/>
          </ac:spMkLst>
        </pc:spChg>
        <pc:spChg chg="mod">
          <ac:chgData name="Brown, Hayley (HA)" userId="3be75098-8bbf-4a29-97dc-aebe4077390b" providerId="ADAL" clId="{2A7B1675-2B63-4CCA-BA98-58ED87916F92}" dt="2024-07-26T16:49:21.798" v="1224" actId="27636"/>
          <ac:spMkLst>
            <pc:docMk/>
            <pc:sldMk cId="4188542297" sldId="320"/>
            <ac:spMk id="5" creationId="{26A9F31A-C0C8-7093-CC72-DD6F349CFBAF}"/>
          </ac:spMkLst>
        </pc:spChg>
        <pc:spChg chg="add del">
          <ac:chgData name="Brown, Hayley (HA)" userId="3be75098-8bbf-4a29-97dc-aebe4077390b" providerId="ADAL" clId="{2A7B1675-2B63-4CCA-BA98-58ED87916F92}" dt="2024-07-24T18:37:42.959" v="832" actId="22"/>
          <ac:spMkLst>
            <pc:docMk/>
            <pc:sldMk cId="4188542297" sldId="320"/>
            <ac:spMk id="7" creationId="{C7550289-0775-06DB-7CDE-839B92E72252}"/>
          </ac:spMkLst>
        </pc:spChg>
      </pc:sldChg>
      <pc:sldChg chg="addSp modSp new mod">
        <pc:chgData name="Brown, Hayley (HA)" userId="3be75098-8bbf-4a29-97dc-aebe4077390b" providerId="ADAL" clId="{2A7B1675-2B63-4CCA-BA98-58ED87916F92}" dt="2024-07-26T16:48:25.741" v="1220" actId="207"/>
        <pc:sldMkLst>
          <pc:docMk/>
          <pc:sldMk cId="2121327053" sldId="321"/>
        </pc:sldMkLst>
        <pc:spChg chg="add mod">
          <ac:chgData name="Brown, Hayley (HA)" userId="3be75098-8bbf-4a29-97dc-aebe4077390b" providerId="ADAL" clId="{2A7B1675-2B63-4CCA-BA98-58ED87916F92}" dt="2024-07-26T16:46:58.830" v="1208"/>
          <ac:spMkLst>
            <pc:docMk/>
            <pc:sldMk cId="2121327053" sldId="321"/>
            <ac:spMk id="4" creationId="{9781D278-28AD-4383-82F8-929245C973C1}"/>
          </ac:spMkLst>
        </pc:spChg>
        <pc:spChg chg="add mod">
          <ac:chgData name="Brown, Hayley (HA)" userId="3be75098-8bbf-4a29-97dc-aebe4077390b" providerId="ADAL" clId="{2A7B1675-2B63-4CCA-BA98-58ED87916F92}" dt="2024-07-26T16:48:25.741" v="1220" actId="207"/>
          <ac:spMkLst>
            <pc:docMk/>
            <pc:sldMk cId="2121327053" sldId="321"/>
            <ac:spMk id="5" creationId="{ED34CCA1-AC15-4C8A-AC77-78A8AC76EC56}"/>
          </ac:spMkLst>
        </pc:spChg>
        <pc:spChg chg="add mod">
          <ac:chgData name="Brown, Hayley (HA)" userId="3be75098-8bbf-4a29-97dc-aebe4077390b" providerId="ADAL" clId="{2A7B1675-2B63-4CCA-BA98-58ED87916F92}" dt="2024-07-26T16:46:58.830" v="1208"/>
          <ac:spMkLst>
            <pc:docMk/>
            <pc:sldMk cId="2121327053" sldId="321"/>
            <ac:spMk id="6" creationId="{99701EF6-17CE-78E2-1349-900AB9480885}"/>
          </ac:spMkLst>
        </pc:spChg>
        <pc:spChg chg="add mod">
          <ac:chgData name="Brown, Hayley (HA)" userId="3be75098-8bbf-4a29-97dc-aebe4077390b" providerId="ADAL" clId="{2A7B1675-2B63-4CCA-BA98-58ED87916F92}" dt="2024-07-26T16:48:06.832" v="1219" actId="20577"/>
          <ac:spMkLst>
            <pc:docMk/>
            <pc:sldMk cId="2121327053" sldId="321"/>
            <ac:spMk id="7" creationId="{14C0ADAC-DE29-9410-A193-7E3F75F971B4}"/>
          </ac:spMkLst>
        </pc:spChg>
        <pc:picChg chg="add mod">
          <ac:chgData name="Brown, Hayley (HA)" userId="3be75098-8bbf-4a29-97dc-aebe4077390b" providerId="ADAL" clId="{2A7B1675-2B63-4CCA-BA98-58ED87916F92}" dt="2024-07-26T16:47:17.682" v="1210" actId="1076"/>
          <ac:picMkLst>
            <pc:docMk/>
            <pc:sldMk cId="2121327053" sldId="321"/>
            <ac:picMk id="8" creationId="{A7C1C499-C6EB-1B97-A172-6793B0C676FD}"/>
          </ac:picMkLst>
        </pc:picChg>
        <pc:picChg chg="add mod">
          <ac:chgData name="Brown, Hayley (HA)" userId="3be75098-8bbf-4a29-97dc-aebe4077390b" providerId="ADAL" clId="{2A7B1675-2B63-4CCA-BA98-58ED87916F92}" dt="2024-07-26T16:46:58.830" v="1208"/>
          <ac:picMkLst>
            <pc:docMk/>
            <pc:sldMk cId="2121327053" sldId="321"/>
            <ac:picMk id="9" creationId="{B3BAC73E-9FB7-7BAD-1176-5A2F3AF90D54}"/>
          </ac:picMkLst>
        </pc:picChg>
        <pc:picChg chg="add mod">
          <ac:chgData name="Brown, Hayley (HA)" userId="3be75098-8bbf-4a29-97dc-aebe4077390b" providerId="ADAL" clId="{2A7B1675-2B63-4CCA-BA98-58ED87916F92}" dt="2024-07-26T16:46:58.830" v="1208"/>
          <ac:picMkLst>
            <pc:docMk/>
            <pc:sldMk cId="2121327053" sldId="321"/>
            <ac:picMk id="10" creationId="{03A50C77-27B4-A573-BE55-B14737B566D2}"/>
          </ac:picMkLst>
        </pc:picChg>
        <pc:picChg chg="add mod">
          <ac:chgData name="Brown, Hayley (HA)" userId="3be75098-8bbf-4a29-97dc-aebe4077390b" providerId="ADAL" clId="{2A7B1675-2B63-4CCA-BA98-58ED87916F92}" dt="2024-07-26T16:47:42.202" v="1215" actId="14100"/>
          <ac:picMkLst>
            <pc:docMk/>
            <pc:sldMk cId="2121327053" sldId="321"/>
            <ac:picMk id="11" creationId="{36C2B880-B4C9-C70B-0484-110B7C65847A}"/>
          </ac:picMkLst>
        </pc:pic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78163" cy="4699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4022725" y="0"/>
            <a:ext cx="3078163" cy="469900"/>
          </a:xfrm>
          <a:prstGeom prst="rect">
            <a:avLst/>
          </a:prstGeom>
        </p:spPr>
        <p:txBody>
          <a:bodyPr vert="horz" lIns="91440" tIns="45720" rIns="91440" bIns="45720" rtlCol="0"/>
          <a:lstStyle>
            <a:lvl1pPr algn="r">
              <a:defRPr sz="1200"/>
            </a:lvl1pPr>
          </a:lstStyle>
          <a:p>
            <a:fld id="{E637AA9A-9B1A-4360-8720-87A0BF7228B7}" type="datetimeFigureOut">
              <a:rPr lang="en-US" smtClean="0"/>
              <a:t>7/26/2024</a:t>
            </a:fld>
            <a:endParaRPr lang="en-US"/>
          </a:p>
        </p:txBody>
      </p:sp>
      <p:sp>
        <p:nvSpPr>
          <p:cNvPr id="4" name="Slide Image Placeholder 3"/>
          <p:cNvSpPr>
            <a:spLocks noGrp="1" noRot="1" noChangeAspect="1"/>
          </p:cNvSpPr>
          <p:nvPr>
            <p:ph type="sldImg" idx="2"/>
          </p:nvPr>
        </p:nvSpPr>
        <p:spPr>
          <a:xfrm>
            <a:off x="735013" y="1173163"/>
            <a:ext cx="5632450" cy="316865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709613" y="4518025"/>
            <a:ext cx="5683250" cy="3697288"/>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918575"/>
            <a:ext cx="3078163" cy="46990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4022725" y="8918575"/>
            <a:ext cx="3078163" cy="469900"/>
          </a:xfrm>
          <a:prstGeom prst="rect">
            <a:avLst/>
          </a:prstGeom>
        </p:spPr>
        <p:txBody>
          <a:bodyPr vert="horz" lIns="91440" tIns="45720" rIns="91440" bIns="45720" rtlCol="0" anchor="b"/>
          <a:lstStyle>
            <a:lvl1pPr algn="r">
              <a:defRPr sz="1200"/>
            </a:lvl1pPr>
          </a:lstStyle>
          <a:p>
            <a:fld id="{6525A282-ED25-418F-9222-9A5959AE141E}" type="slidenum">
              <a:rPr lang="en-US" smtClean="0"/>
              <a:t>‹#›</a:t>
            </a:fld>
            <a:endParaRPr lang="en-US"/>
          </a:p>
        </p:txBody>
      </p:sp>
    </p:spTree>
    <p:extLst>
      <p:ext uri="{BB962C8B-B14F-4D97-AF65-F5344CB8AC3E}">
        <p14:creationId xmlns:p14="http://schemas.microsoft.com/office/powerpoint/2010/main" val="189758335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5"/>
        <p:cNvGrpSpPr/>
        <p:nvPr/>
      </p:nvGrpSpPr>
      <p:grpSpPr>
        <a:xfrm>
          <a:off x="0" y="0"/>
          <a:ext cx="0" cy="0"/>
          <a:chOff x="0" y="0"/>
          <a:chExt cx="0" cy="0"/>
        </a:xfrm>
      </p:grpSpPr>
      <p:sp>
        <p:nvSpPr>
          <p:cNvPr id="86" name="Google Shape;86;p11: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87" name="Google Shape;87;p11: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US" dirty="0"/>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BA88459F-11BD-4F9D-AF64-95BBB10201AF}" type="datetimeFigureOut">
              <a:rPr lang="en-US" smtClean="0"/>
              <a:t>7/26/2024</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7CDC12A4-01F7-4CA2-8128-14C7DEE44D12}" type="slidenum">
              <a:rPr lang="en-US" smtClean="0"/>
              <a:t>‹#›</a:t>
            </a:fld>
            <a:endParaRPr lang="en-US" dirty="0"/>
          </a:p>
        </p:txBody>
      </p:sp>
    </p:spTree>
    <p:extLst>
      <p:ext uri="{BB962C8B-B14F-4D97-AF65-F5344CB8AC3E}">
        <p14:creationId xmlns:p14="http://schemas.microsoft.com/office/powerpoint/2010/main" val="312940410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BA88459F-11BD-4F9D-AF64-95BBB10201AF}" type="datetimeFigureOut">
              <a:rPr lang="en-US" smtClean="0"/>
              <a:t>7/26/2024</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7CDC12A4-01F7-4CA2-8128-14C7DEE44D12}" type="slidenum">
              <a:rPr lang="en-US" smtClean="0"/>
              <a:t>‹#›</a:t>
            </a:fld>
            <a:endParaRPr lang="en-US" dirty="0"/>
          </a:p>
        </p:txBody>
      </p:sp>
    </p:spTree>
    <p:extLst>
      <p:ext uri="{BB962C8B-B14F-4D97-AF65-F5344CB8AC3E}">
        <p14:creationId xmlns:p14="http://schemas.microsoft.com/office/powerpoint/2010/main" val="222991841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BA88459F-11BD-4F9D-AF64-95BBB10201AF}" type="datetimeFigureOut">
              <a:rPr lang="en-US" smtClean="0"/>
              <a:t>7/26/2024</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7CDC12A4-01F7-4CA2-8128-14C7DEE44D12}" type="slidenum">
              <a:rPr lang="en-US" smtClean="0"/>
              <a:t>‹#›</a:t>
            </a:fld>
            <a:endParaRPr lang="en-US" dirty="0"/>
          </a:p>
        </p:txBody>
      </p:sp>
    </p:spTree>
    <p:extLst>
      <p:ext uri="{BB962C8B-B14F-4D97-AF65-F5344CB8AC3E}">
        <p14:creationId xmlns:p14="http://schemas.microsoft.com/office/powerpoint/2010/main" val="415340034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matchingName="Section Header">
  <p:cSld name="1_Section Header">
    <p:spTree>
      <p:nvGrpSpPr>
        <p:cNvPr id="1" name="Shape 12"/>
        <p:cNvGrpSpPr/>
        <p:nvPr/>
      </p:nvGrpSpPr>
      <p:grpSpPr>
        <a:xfrm>
          <a:off x="0" y="0"/>
          <a:ext cx="0" cy="0"/>
          <a:chOff x="0" y="0"/>
          <a:chExt cx="0" cy="0"/>
        </a:xfrm>
      </p:grpSpPr>
      <p:sp>
        <p:nvSpPr>
          <p:cNvPr id="13" name="Google Shape;13;p16"/>
          <p:cNvSpPr txBox="1">
            <a:spLocks noGrp="1"/>
          </p:cNvSpPr>
          <p:nvPr>
            <p:ph type="body" idx="1"/>
          </p:nvPr>
        </p:nvSpPr>
        <p:spPr>
          <a:xfrm>
            <a:off x="674688" y="544514"/>
            <a:ext cx="10625137" cy="703716"/>
          </a:xfrm>
          <a:prstGeom prst="rect">
            <a:avLst/>
          </a:prstGeom>
          <a:noFill/>
          <a:ln>
            <a:noFill/>
          </a:ln>
        </p:spPr>
        <p:txBody>
          <a:bodyPr spcFirstLastPara="1" wrap="square" lIns="91425" tIns="45700" rIns="91425" bIns="45700" anchor="t" anchorCtr="0">
            <a:noAutofit/>
          </a:bodyPr>
          <a:lstStyle>
            <a:lvl1pPr marL="457200" marR="0" lvl="0" indent="-228600" algn="l" rtl="0">
              <a:lnSpc>
                <a:spcPct val="90000"/>
              </a:lnSpc>
              <a:spcBef>
                <a:spcPts val="1000"/>
              </a:spcBef>
              <a:spcAft>
                <a:spcPts val="0"/>
              </a:spcAft>
              <a:buClr>
                <a:schemeClr val="dk1"/>
              </a:buClr>
              <a:buSzPts val="2800"/>
              <a:buFont typeface="Arial"/>
              <a:buNone/>
              <a:defRPr sz="2800" b="1" i="0" u="none" strike="noStrike" cap="none">
                <a:solidFill>
                  <a:schemeClr val="dk1"/>
                </a:solidFill>
                <a:latin typeface="Arial"/>
                <a:ea typeface="Arial"/>
                <a:cs typeface="Arial"/>
                <a:sym typeface="Arial"/>
              </a:defRPr>
            </a:lvl1pPr>
            <a:lvl2pPr marL="914400" marR="0" lvl="1" indent="-381000" algn="l" rtl="0">
              <a:lnSpc>
                <a:spcPct val="90000"/>
              </a:lnSpc>
              <a:spcBef>
                <a:spcPts val="500"/>
              </a:spcBef>
              <a:spcAft>
                <a:spcPts val="0"/>
              </a:spcAft>
              <a:buClr>
                <a:schemeClr val="dk1"/>
              </a:buClr>
              <a:buSzPts val="2400"/>
              <a:buFont typeface="Arial"/>
              <a:buChar char="•"/>
              <a:defRPr sz="2400" b="0" i="0" u="none" strike="noStrike" cap="none">
                <a:solidFill>
                  <a:schemeClr val="dk1"/>
                </a:solidFill>
                <a:latin typeface="Calibri"/>
                <a:ea typeface="Calibri"/>
                <a:cs typeface="Calibri"/>
                <a:sym typeface="Calibri"/>
              </a:defRPr>
            </a:lvl2pPr>
            <a:lvl3pPr marL="1371600" marR="0" lvl="2" indent="-355600"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3pPr>
            <a:lvl4pPr marL="1828800" marR="0" lvl="3"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14" name="Google Shape;14;p16"/>
          <p:cNvSpPr txBox="1">
            <a:spLocks noGrp="1"/>
          </p:cNvSpPr>
          <p:nvPr>
            <p:ph type="body" idx="2"/>
          </p:nvPr>
        </p:nvSpPr>
        <p:spPr>
          <a:xfrm>
            <a:off x="674688" y="1367972"/>
            <a:ext cx="10625137" cy="4122056"/>
          </a:xfrm>
          <a:prstGeom prst="rect">
            <a:avLst/>
          </a:prstGeom>
          <a:noFill/>
          <a:ln>
            <a:noFill/>
          </a:ln>
        </p:spPr>
        <p:txBody>
          <a:bodyPr spcFirstLastPara="1" wrap="square" lIns="91425" tIns="45700" rIns="91425" bIns="45700" anchor="t" anchorCtr="0">
            <a:noAutofit/>
          </a:bodyPr>
          <a:lstStyle>
            <a:lvl1pPr marL="457200" marR="0" lvl="0" indent="-228600" algn="l" rtl="0">
              <a:lnSpc>
                <a:spcPct val="90000"/>
              </a:lnSpc>
              <a:spcBef>
                <a:spcPts val="1000"/>
              </a:spcBef>
              <a:spcAft>
                <a:spcPts val="0"/>
              </a:spcAft>
              <a:buClr>
                <a:schemeClr val="dk1"/>
              </a:buClr>
              <a:buSzPts val="2000"/>
              <a:buFont typeface="Arial"/>
              <a:buNone/>
              <a:defRPr sz="2000" b="0" i="0" u="none" strike="noStrike" cap="none">
                <a:solidFill>
                  <a:schemeClr val="dk1"/>
                </a:solidFill>
                <a:latin typeface="Arial"/>
                <a:ea typeface="Arial"/>
                <a:cs typeface="Arial"/>
                <a:sym typeface="Arial"/>
              </a:defRPr>
            </a:lvl1pPr>
            <a:lvl2pPr marL="914400" marR="0" lvl="1" indent="-381000" algn="l" rtl="0">
              <a:lnSpc>
                <a:spcPct val="90000"/>
              </a:lnSpc>
              <a:spcBef>
                <a:spcPts val="500"/>
              </a:spcBef>
              <a:spcAft>
                <a:spcPts val="0"/>
              </a:spcAft>
              <a:buClr>
                <a:schemeClr val="dk1"/>
              </a:buClr>
              <a:buSzPts val="2400"/>
              <a:buFont typeface="Arial"/>
              <a:buChar char="•"/>
              <a:defRPr sz="2400" b="0" i="0" u="none" strike="noStrike" cap="none">
                <a:solidFill>
                  <a:schemeClr val="dk1"/>
                </a:solidFill>
                <a:latin typeface="Calibri"/>
                <a:ea typeface="Calibri"/>
                <a:cs typeface="Calibri"/>
                <a:sym typeface="Calibri"/>
              </a:defRPr>
            </a:lvl2pPr>
            <a:lvl3pPr marL="1371600" marR="0" lvl="2" indent="-355600"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3pPr>
            <a:lvl4pPr marL="1828800" marR="0" lvl="3"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Tree>
    <p:extLst>
      <p:ext uri="{BB962C8B-B14F-4D97-AF65-F5344CB8AC3E}">
        <p14:creationId xmlns:p14="http://schemas.microsoft.com/office/powerpoint/2010/main" val="220309922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BA88459F-11BD-4F9D-AF64-95BBB10201AF}" type="datetimeFigureOut">
              <a:rPr lang="en-US" smtClean="0"/>
              <a:t>7/26/2024</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7CDC12A4-01F7-4CA2-8128-14C7DEE44D12}" type="slidenum">
              <a:rPr lang="en-US" smtClean="0"/>
              <a:t>‹#›</a:t>
            </a:fld>
            <a:endParaRPr lang="en-US" dirty="0"/>
          </a:p>
        </p:txBody>
      </p:sp>
    </p:spTree>
    <p:extLst>
      <p:ext uri="{BB962C8B-B14F-4D97-AF65-F5344CB8AC3E}">
        <p14:creationId xmlns:p14="http://schemas.microsoft.com/office/powerpoint/2010/main" val="80208258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US" dirty="0"/>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BA88459F-11BD-4F9D-AF64-95BBB10201AF}" type="datetimeFigureOut">
              <a:rPr lang="en-US" smtClean="0"/>
              <a:t>7/26/2024</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7CDC12A4-01F7-4CA2-8128-14C7DEE44D12}" type="slidenum">
              <a:rPr lang="en-US" smtClean="0"/>
              <a:t>‹#›</a:t>
            </a:fld>
            <a:endParaRPr lang="en-US" dirty="0"/>
          </a:p>
        </p:txBody>
      </p:sp>
    </p:spTree>
    <p:extLst>
      <p:ext uri="{BB962C8B-B14F-4D97-AF65-F5344CB8AC3E}">
        <p14:creationId xmlns:p14="http://schemas.microsoft.com/office/powerpoint/2010/main" val="34825970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BA88459F-11BD-4F9D-AF64-95BBB10201AF}" type="datetimeFigureOut">
              <a:rPr lang="en-US" smtClean="0"/>
              <a:t>7/26/2024</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7CDC12A4-01F7-4CA2-8128-14C7DEE44D12}" type="slidenum">
              <a:rPr lang="en-US" smtClean="0"/>
              <a:t>‹#›</a:t>
            </a:fld>
            <a:endParaRPr lang="en-US" dirty="0"/>
          </a:p>
        </p:txBody>
      </p:sp>
    </p:spTree>
    <p:extLst>
      <p:ext uri="{BB962C8B-B14F-4D97-AF65-F5344CB8AC3E}">
        <p14:creationId xmlns:p14="http://schemas.microsoft.com/office/powerpoint/2010/main" val="237760798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endParaRPr lang="en-US" dirty="0"/>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BA88459F-11BD-4F9D-AF64-95BBB10201AF}" type="datetimeFigureOut">
              <a:rPr lang="en-US" smtClean="0"/>
              <a:t>7/26/2024</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7CDC12A4-01F7-4CA2-8128-14C7DEE44D12}" type="slidenum">
              <a:rPr lang="en-US" smtClean="0"/>
              <a:t>‹#›</a:t>
            </a:fld>
            <a:endParaRPr lang="en-US" dirty="0"/>
          </a:p>
        </p:txBody>
      </p:sp>
    </p:spTree>
    <p:extLst>
      <p:ext uri="{BB962C8B-B14F-4D97-AF65-F5344CB8AC3E}">
        <p14:creationId xmlns:p14="http://schemas.microsoft.com/office/powerpoint/2010/main" val="225416910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BA88459F-11BD-4F9D-AF64-95BBB10201AF}" type="datetimeFigureOut">
              <a:rPr lang="en-US" smtClean="0"/>
              <a:t>7/26/2024</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7CDC12A4-01F7-4CA2-8128-14C7DEE44D12}" type="slidenum">
              <a:rPr lang="en-US" smtClean="0"/>
              <a:t>‹#›</a:t>
            </a:fld>
            <a:endParaRPr lang="en-US" dirty="0"/>
          </a:p>
        </p:txBody>
      </p:sp>
    </p:spTree>
    <p:extLst>
      <p:ext uri="{BB962C8B-B14F-4D97-AF65-F5344CB8AC3E}">
        <p14:creationId xmlns:p14="http://schemas.microsoft.com/office/powerpoint/2010/main" val="282195119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BA88459F-11BD-4F9D-AF64-95BBB10201AF}" type="datetimeFigureOut">
              <a:rPr lang="en-US" smtClean="0"/>
              <a:t>7/26/2024</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7CDC12A4-01F7-4CA2-8128-14C7DEE44D12}" type="slidenum">
              <a:rPr lang="en-US" smtClean="0"/>
              <a:t>‹#›</a:t>
            </a:fld>
            <a:endParaRPr lang="en-US" dirty="0"/>
          </a:p>
        </p:txBody>
      </p:sp>
    </p:spTree>
    <p:extLst>
      <p:ext uri="{BB962C8B-B14F-4D97-AF65-F5344CB8AC3E}">
        <p14:creationId xmlns:p14="http://schemas.microsoft.com/office/powerpoint/2010/main" val="276949784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dirty="0"/>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BA88459F-11BD-4F9D-AF64-95BBB10201AF}" type="datetimeFigureOut">
              <a:rPr lang="en-US" smtClean="0"/>
              <a:t>7/26/2024</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7CDC12A4-01F7-4CA2-8128-14C7DEE44D12}" type="slidenum">
              <a:rPr lang="en-US" smtClean="0"/>
              <a:t>‹#›</a:t>
            </a:fld>
            <a:endParaRPr lang="en-US" dirty="0"/>
          </a:p>
        </p:txBody>
      </p:sp>
    </p:spTree>
    <p:extLst>
      <p:ext uri="{BB962C8B-B14F-4D97-AF65-F5344CB8AC3E}">
        <p14:creationId xmlns:p14="http://schemas.microsoft.com/office/powerpoint/2010/main" val="424857434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dirty="0"/>
          </a:p>
        </p:txBody>
      </p:sp>
      <p:sp>
        <p:nvSpPr>
          <p:cNvPr id="3" name="Picture Placeholder 2"/>
          <p:cNvSpPr>
            <a:spLocks noGrp="1" noChangeAspect="1"/>
          </p:cNvSpPr>
          <p:nvPr>
            <p:ph type="pic" idx="1"/>
          </p:nvPr>
        </p:nvSpPr>
        <p:spPr>
          <a:xfrm>
            <a:off x="5183188" y="987425"/>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Click icon to add picture</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BA88459F-11BD-4F9D-AF64-95BBB10201AF}" type="datetimeFigureOut">
              <a:rPr lang="en-US" smtClean="0"/>
              <a:t>7/26/2024</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7CDC12A4-01F7-4CA2-8128-14C7DEE44D12}" type="slidenum">
              <a:rPr lang="en-US" smtClean="0"/>
              <a:t>‹#›</a:t>
            </a:fld>
            <a:endParaRPr lang="en-US" dirty="0"/>
          </a:p>
        </p:txBody>
      </p:sp>
    </p:spTree>
    <p:extLst>
      <p:ext uri="{BB962C8B-B14F-4D97-AF65-F5344CB8AC3E}">
        <p14:creationId xmlns:p14="http://schemas.microsoft.com/office/powerpoint/2010/main" val="150245653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BA88459F-11BD-4F9D-AF64-95BBB10201AF}" type="datetimeFigureOut">
              <a:rPr lang="en-US" smtClean="0"/>
              <a:t>7/26/2024</a:t>
            </a:fld>
            <a:endParaRPr lang="en-US" dirty="0"/>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7CDC12A4-01F7-4CA2-8128-14C7DEE44D12}" type="slidenum">
              <a:rPr lang="en-US" smtClean="0"/>
              <a:t>‹#›</a:t>
            </a:fld>
            <a:endParaRPr lang="en-US" dirty="0"/>
          </a:p>
        </p:txBody>
      </p:sp>
      <p:sp>
        <p:nvSpPr>
          <p:cNvPr id="7" name="MSIPCMContentMarking" descr="{&quot;HashCode&quot;:-522956323,&quot;Placement&quot;:&quot;Footer&quot;,&quot;Top&quot;:519.343,&quot;Left&quot;:434.047333,&quot;SlideWidth&quot;:960,&quot;SlideHeight&quot;:540}">
            <a:extLst>
              <a:ext uri="{FF2B5EF4-FFF2-40B4-BE49-F238E27FC236}">
                <a16:creationId xmlns:a16="http://schemas.microsoft.com/office/drawing/2014/main" id="{C7309F36-E735-4880-A5C3-82787C9C491A}"/>
              </a:ext>
            </a:extLst>
          </p:cNvPr>
          <p:cNvSpPr txBox="1"/>
          <p:nvPr userDrawn="1"/>
        </p:nvSpPr>
        <p:spPr>
          <a:xfrm>
            <a:off x="5512401" y="6595656"/>
            <a:ext cx="1167199" cy="262344"/>
          </a:xfrm>
          <a:prstGeom prst="rect">
            <a:avLst/>
          </a:prstGeom>
          <a:noFill/>
        </p:spPr>
        <p:txBody>
          <a:bodyPr vert="horz" wrap="square" lIns="0" tIns="0" rIns="0" bIns="0" rtlCol="0" anchor="ctr" anchorCtr="1">
            <a:spAutoFit/>
          </a:bodyPr>
          <a:lstStyle/>
          <a:p>
            <a:pPr algn="ctr">
              <a:spcBef>
                <a:spcPts val="0"/>
              </a:spcBef>
              <a:spcAft>
                <a:spcPts val="0"/>
              </a:spcAft>
            </a:pPr>
            <a:r>
              <a:rPr lang="en-US" sz="1000">
                <a:solidFill>
                  <a:srgbClr val="000000"/>
                </a:solidFill>
                <a:latin typeface="Calibri" panose="020F0502020204030204" pitchFamily="34" charset="0"/>
              </a:rPr>
              <a:t>General Business</a:t>
            </a:r>
          </a:p>
        </p:txBody>
      </p:sp>
    </p:spTree>
    <p:extLst>
      <p:ext uri="{BB962C8B-B14F-4D97-AF65-F5344CB8AC3E}">
        <p14:creationId xmlns:p14="http://schemas.microsoft.com/office/powerpoint/2010/main" val="4194733387"/>
      </p:ext>
    </p:extLst>
  </p:cSld>
  <p:clrMap bg1="dk1" tx1="lt1" bg2="dk2" tx2="lt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Layout" Target="../slideLayouts/slideLayout2.xml"/><Relationship Id="rId6" Type="http://schemas.openxmlformats.org/officeDocument/2006/relationships/image" Target="../media/image14.jpeg"/><Relationship Id="rId5" Type="http://schemas.openxmlformats.org/officeDocument/2006/relationships/image" Target="../media/image13.jpeg"/><Relationship Id="rId4" Type="http://schemas.openxmlformats.org/officeDocument/2006/relationships/image" Target="../media/image12.png"/></Relationships>
</file>

<file path=ppt/slides/_rels/slide13.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image" Target="../media/image9.gif"/><Relationship Id="rId2" Type="http://schemas.openxmlformats.org/officeDocument/2006/relationships/notesSlide" Target="../notesSlides/notesSlide1.xml"/><Relationship Id="rId1" Type="http://schemas.openxmlformats.org/officeDocument/2006/relationships/slideLayout" Target="../slideLayouts/slideLayout12.xml"/><Relationship Id="rId6" Type="http://schemas.openxmlformats.org/officeDocument/2006/relationships/image" Target="../media/image18.png"/><Relationship Id="rId5" Type="http://schemas.openxmlformats.org/officeDocument/2006/relationships/image" Target="../media/image17.jpg"/><Relationship Id="rId4" Type="http://schemas.openxmlformats.org/officeDocument/2006/relationships/image" Target="../media/image16.png"/></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tags" Target="../tags/tag1.xml"/><Relationship Id="rId6" Type="http://schemas.openxmlformats.org/officeDocument/2006/relationships/image" Target="../media/image5.png"/><Relationship Id="rId5" Type="http://schemas.openxmlformats.org/officeDocument/2006/relationships/image" Target="../media/image4.jpeg"/><Relationship Id="rId4" Type="http://schemas.openxmlformats.org/officeDocument/2006/relationships/image" Target="../media/image3.emf"/></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7.jpg"/><Relationship Id="rId2" Type="http://schemas.openxmlformats.org/officeDocument/2006/relationships/image" Target="../media/image6.png"/><Relationship Id="rId1" Type="http://schemas.openxmlformats.org/officeDocument/2006/relationships/slideLayout" Target="../slideLayouts/slideLayout12.xml"/><Relationship Id="rId5" Type="http://schemas.openxmlformats.org/officeDocument/2006/relationships/image" Target="../media/image9.gif"/><Relationship Id="rId4" Type="http://schemas.openxmlformats.org/officeDocument/2006/relationships/image" Target="../media/image8.jpg"/></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a:xfrm>
            <a:off x="-332509" y="2226591"/>
            <a:ext cx="5943600" cy="2147926"/>
          </a:xfrm>
        </p:spPr>
        <p:txBody>
          <a:bodyPr/>
          <a:lstStyle/>
          <a:p>
            <a:r>
              <a:rPr lang="en-US" dirty="0"/>
              <a:t>POLY Industrial Advisory Board</a:t>
            </a:r>
          </a:p>
        </p:txBody>
      </p:sp>
      <p:pic>
        <p:nvPicPr>
          <p:cNvPr id="5" name="Picture 28" descr="iabpin.jpg"/>
          <p:cNvPicPr>
            <a:picLocks noChangeAspect="1"/>
          </p:cNvPicPr>
          <p:nvPr/>
        </p:nvPicPr>
        <p:blipFill>
          <a:blip r:embed="rId2">
            <a:extLst>
              <a:ext uri="{28A0092B-C50C-407E-A947-70E740481C1C}">
                <a14:useLocalDpi xmlns:a14="http://schemas.microsoft.com/office/drawing/2010/main" val="0"/>
              </a:ext>
            </a:extLst>
          </a:blip>
          <a:srcRect b="3159"/>
          <a:stretch>
            <a:fillRect/>
          </a:stretch>
        </p:blipFill>
        <p:spPr bwMode="auto">
          <a:xfrm>
            <a:off x="219348" y="152401"/>
            <a:ext cx="1390104" cy="1716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Rectangle 6"/>
          <p:cNvSpPr/>
          <p:nvPr/>
        </p:nvSpPr>
        <p:spPr>
          <a:xfrm>
            <a:off x="3590302" y="5419780"/>
            <a:ext cx="3526350" cy="830997"/>
          </a:xfrm>
          <a:prstGeom prst="rect">
            <a:avLst/>
          </a:prstGeom>
        </p:spPr>
        <p:txBody>
          <a:bodyPr wrap="none">
            <a:spAutoFit/>
          </a:bodyPr>
          <a:lstStyle/>
          <a:p>
            <a:r>
              <a:rPr lang="en-US" sz="2400" u="sng" dirty="0">
                <a:solidFill>
                  <a:prstClr val="white"/>
                </a:solidFill>
              </a:rPr>
              <a:t>Chair</a:t>
            </a:r>
            <a:r>
              <a:rPr lang="en-US" sz="2400" dirty="0">
                <a:solidFill>
                  <a:prstClr val="white"/>
                </a:solidFill>
              </a:rPr>
              <a:t>: Hayley Brown (Dow)</a:t>
            </a:r>
          </a:p>
          <a:p>
            <a:r>
              <a:rPr lang="en-US" sz="2400" dirty="0">
                <a:solidFill>
                  <a:prstClr val="white"/>
                </a:solidFill>
              </a:rPr>
              <a:t>Co-Chair: Jeff Ting (Nanite)</a:t>
            </a:r>
          </a:p>
        </p:txBody>
      </p:sp>
      <p:sp>
        <p:nvSpPr>
          <p:cNvPr id="4" name="Rectangle 3"/>
          <p:cNvSpPr/>
          <p:nvPr/>
        </p:nvSpPr>
        <p:spPr>
          <a:xfrm>
            <a:off x="5517582" y="4374517"/>
            <a:ext cx="5271636" cy="1200329"/>
          </a:xfrm>
          <a:prstGeom prst="rect">
            <a:avLst/>
          </a:prstGeom>
          <a:noFill/>
        </p:spPr>
        <p:txBody>
          <a:bodyPr wrap="none" lIns="91440" tIns="45720" rIns="91440" bIns="45720">
            <a:spAutoFit/>
            <a:scene3d>
              <a:camera prst="orthographicFront"/>
              <a:lightRig rig="soft" dir="t">
                <a:rot lat="0" lon="0" rev="15600000"/>
              </a:lightRig>
            </a:scene3d>
            <a:sp3d extrusionH="57150" prstMaterial="softEdge">
              <a:bevelT w="25400" h="38100"/>
            </a:sp3d>
          </a:bodyPr>
          <a:lstStyle/>
          <a:p>
            <a:pPr algn="ctr"/>
            <a:r>
              <a:rPr lang="en-US" sz="3600" b="1" cap="none" spc="0" dirty="0">
                <a:ln/>
                <a:solidFill>
                  <a:schemeClr val="accent4"/>
                </a:solidFill>
                <a:effectLst/>
              </a:rPr>
              <a:t>Annual dues: $1,500</a:t>
            </a:r>
          </a:p>
          <a:p>
            <a:pPr algn="ctr"/>
            <a:r>
              <a:rPr lang="en-US" sz="3600" b="1" dirty="0">
                <a:ln/>
                <a:solidFill>
                  <a:schemeClr val="accent4"/>
                </a:solidFill>
              </a:rPr>
              <a:t>Small company dues: $500</a:t>
            </a:r>
            <a:endParaRPr lang="en-US" sz="3600" b="1" cap="none" spc="0" dirty="0">
              <a:ln/>
              <a:solidFill>
                <a:schemeClr val="accent4"/>
              </a:solidFill>
              <a:effectLst/>
            </a:endParaRPr>
          </a:p>
        </p:txBody>
      </p:sp>
      <p:sp>
        <p:nvSpPr>
          <p:cNvPr id="2" name="Footer Placeholder 1">
            <a:extLst>
              <a:ext uri="{FF2B5EF4-FFF2-40B4-BE49-F238E27FC236}">
                <a16:creationId xmlns:a16="http://schemas.microsoft.com/office/drawing/2014/main" id="{64EB3080-FB5F-46CD-BA3F-3D42669F2C56}"/>
              </a:ext>
            </a:extLst>
          </p:cNvPr>
          <p:cNvSpPr>
            <a:spLocks noGrp="1"/>
          </p:cNvSpPr>
          <p:nvPr>
            <p:ph type="ftr" sz="quarter" idx="11"/>
          </p:nvPr>
        </p:nvSpPr>
        <p:spPr/>
        <p:txBody>
          <a:bodyPr/>
          <a:lstStyle/>
          <a:p>
            <a:endParaRPr lang="en-US" dirty="0"/>
          </a:p>
        </p:txBody>
      </p:sp>
      <p:pic>
        <p:nvPicPr>
          <p:cNvPr id="10" name="Picture 9">
            <a:extLst>
              <a:ext uri="{FF2B5EF4-FFF2-40B4-BE49-F238E27FC236}">
                <a16:creationId xmlns:a16="http://schemas.microsoft.com/office/drawing/2014/main" id="{8C4DE5F6-0694-6E11-A512-555721D904F9}"/>
              </a:ext>
            </a:extLst>
          </p:cNvPr>
          <p:cNvPicPr>
            <a:picLocks noChangeAspect="1"/>
          </p:cNvPicPr>
          <p:nvPr/>
        </p:nvPicPr>
        <p:blipFill>
          <a:blip r:embed="rId3"/>
          <a:stretch>
            <a:fillRect/>
          </a:stretch>
        </p:blipFill>
        <p:spPr>
          <a:xfrm>
            <a:off x="5396794" y="136525"/>
            <a:ext cx="5606722" cy="4205042"/>
          </a:xfrm>
          <a:prstGeom prst="rect">
            <a:avLst/>
          </a:prstGeom>
        </p:spPr>
      </p:pic>
    </p:spTree>
    <p:extLst>
      <p:ext uri="{BB962C8B-B14F-4D97-AF65-F5344CB8AC3E}">
        <p14:creationId xmlns:p14="http://schemas.microsoft.com/office/powerpoint/2010/main" val="259165223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8F5F7E-58E2-72EB-FE9A-D074F1EBBC5C}"/>
              </a:ext>
            </a:extLst>
          </p:cNvPr>
          <p:cNvSpPr>
            <a:spLocks noGrp="1"/>
          </p:cNvSpPr>
          <p:nvPr>
            <p:ph type="title"/>
          </p:nvPr>
        </p:nvSpPr>
        <p:spPr/>
        <p:txBody>
          <a:bodyPr/>
          <a:lstStyle/>
          <a:p>
            <a:r>
              <a:rPr lang="en-US" dirty="0"/>
              <a:t>Notes</a:t>
            </a:r>
          </a:p>
        </p:txBody>
      </p:sp>
      <p:sp>
        <p:nvSpPr>
          <p:cNvPr id="3" name="Text Placeholder 2">
            <a:extLst>
              <a:ext uri="{FF2B5EF4-FFF2-40B4-BE49-F238E27FC236}">
                <a16:creationId xmlns:a16="http://schemas.microsoft.com/office/drawing/2014/main" id="{AB9DFD47-247A-0FAF-DC1E-3CDDB17B1A9A}"/>
              </a:ext>
            </a:extLst>
          </p:cNvPr>
          <p:cNvSpPr>
            <a:spLocks noGrp="1"/>
          </p:cNvSpPr>
          <p:nvPr>
            <p:ph type="body" idx="1"/>
          </p:nvPr>
        </p:nvSpPr>
        <p:spPr/>
        <p:txBody>
          <a:bodyPr/>
          <a:lstStyle/>
          <a:p>
            <a:endParaRPr lang="en-US"/>
          </a:p>
        </p:txBody>
      </p:sp>
      <p:sp>
        <p:nvSpPr>
          <p:cNvPr id="4" name="Footer Placeholder 3">
            <a:extLst>
              <a:ext uri="{FF2B5EF4-FFF2-40B4-BE49-F238E27FC236}">
                <a16:creationId xmlns:a16="http://schemas.microsoft.com/office/drawing/2014/main" id="{EDD8ACBC-6D84-4D08-8453-6680C749D5FE}"/>
              </a:ext>
            </a:extLst>
          </p:cNvPr>
          <p:cNvSpPr>
            <a:spLocks noGrp="1"/>
          </p:cNvSpPr>
          <p:nvPr>
            <p:ph type="ftr" sz="quarter" idx="11"/>
          </p:nvPr>
        </p:nvSpPr>
        <p:spPr/>
        <p:txBody>
          <a:bodyPr/>
          <a:lstStyle/>
          <a:p>
            <a:endParaRPr lang="en-US" dirty="0"/>
          </a:p>
        </p:txBody>
      </p:sp>
    </p:spTree>
    <p:extLst>
      <p:ext uri="{BB962C8B-B14F-4D97-AF65-F5344CB8AC3E}">
        <p14:creationId xmlns:p14="http://schemas.microsoft.com/office/powerpoint/2010/main" val="413008825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8318D2-27CA-1093-FF78-5FA568EAE6A6}"/>
              </a:ext>
            </a:extLst>
          </p:cNvPr>
          <p:cNvSpPr>
            <a:spLocks noGrp="1"/>
          </p:cNvSpPr>
          <p:nvPr>
            <p:ph type="title"/>
          </p:nvPr>
        </p:nvSpPr>
        <p:spPr/>
        <p:txBody>
          <a:bodyPr/>
          <a:lstStyle/>
          <a:p>
            <a:r>
              <a:rPr lang="en-US" dirty="0"/>
              <a:t>Spring 2024 Programming and Networking</a:t>
            </a:r>
          </a:p>
        </p:txBody>
      </p:sp>
      <p:sp>
        <p:nvSpPr>
          <p:cNvPr id="3" name="Content Placeholder 2">
            <a:extLst>
              <a:ext uri="{FF2B5EF4-FFF2-40B4-BE49-F238E27FC236}">
                <a16:creationId xmlns:a16="http://schemas.microsoft.com/office/drawing/2014/main" id="{524906C0-FE0A-0D9B-7E2C-BC148E7AA2C2}"/>
              </a:ext>
            </a:extLst>
          </p:cNvPr>
          <p:cNvSpPr>
            <a:spLocks noGrp="1"/>
          </p:cNvSpPr>
          <p:nvPr>
            <p:ph idx="1"/>
          </p:nvPr>
        </p:nvSpPr>
        <p:spPr>
          <a:xfrm>
            <a:off x="408214" y="1713933"/>
            <a:ext cx="5011683" cy="1715067"/>
          </a:xfrm>
        </p:spPr>
        <p:txBody>
          <a:bodyPr/>
          <a:lstStyle/>
          <a:p>
            <a:pPr marL="0" marR="0" indent="0">
              <a:spcBef>
                <a:spcPts val="0"/>
              </a:spcBef>
              <a:spcAft>
                <a:spcPts val="0"/>
              </a:spcAft>
              <a:buNone/>
            </a:pPr>
            <a:r>
              <a:rPr lang="en-US" sz="1800" b="1" dirty="0">
                <a:effectLst/>
                <a:latin typeface="Calibri" panose="020F0502020204030204" pitchFamily="34" charset="0"/>
                <a:ea typeface="Times New Roman" panose="02020603050405020304" pitchFamily="18" charset="0"/>
              </a:rPr>
              <a:t>“Industrial Innovations in Polymer Science” symposium</a:t>
            </a:r>
          </a:p>
          <a:p>
            <a:pPr marL="0" marR="0" indent="0">
              <a:spcBef>
                <a:spcPts val="0"/>
              </a:spcBef>
              <a:spcAft>
                <a:spcPts val="0"/>
              </a:spcAft>
              <a:buNone/>
            </a:pPr>
            <a:r>
              <a:rPr lang="en-US" sz="1800" dirty="0">
                <a:effectLst/>
                <a:latin typeface="Calibri" panose="020F0502020204030204" pitchFamily="34" charset="0"/>
                <a:ea typeface="Calibri" panose="020F0502020204030204" pitchFamily="34" charset="0"/>
              </a:rPr>
              <a:t>Organizers: Daniel Abebe, Kelli Ogawa, Farihah Haque</a:t>
            </a:r>
          </a:p>
          <a:p>
            <a:pPr marL="0" marR="0" indent="0">
              <a:spcBef>
                <a:spcPts val="0"/>
              </a:spcBef>
              <a:spcAft>
                <a:spcPts val="0"/>
              </a:spcAft>
              <a:buNone/>
            </a:pPr>
            <a:r>
              <a:rPr lang="en-US" sz="1800" dirty="0">
                <a:effectLst/>
                <a:latin typeface="Calibri" panose="020F0502020204030204" pitchFamily="34" charset="0"/>
                <a:ea typeface="Times New Roman" panose="02020603050405020304" pitchFamily="18" charset="0"/>
              </a:rPr>
              <a:t>Monday, March 18</a:t>
            </a:r>
            <a:r>
              <a:rPr lang="en-US" sz="1800" baseline="30000" dirty="0">
                <a:effectLst/>
                <a:latin typeface="Calibri" panose="020F0502020204030204" pitchFamily="34" charset="0"/>
                <a:ea typeface="Times New Roman" panose="02020603050405020304" pitchFamily="18" charset="0"/>
              </a:rPr>
              <a:t>th</a:t>
            </a:r>
            <a:r>
              <a:rPr lang="en-US" sz="1800" dirty="0">
                <a:effectLst/>
                <a:latin typeface="Calibri" panose="020F0502020204030204" pitchFamily="34" charset="0"/>
                <a:ea typeface="Times New Roman" panose="02020603050405020304" pitchFamily="18" charset="0"/>
              </a:rPr>
              <a:t> </a:t>
            </a:r>
          </a:p>
          <a:p>
            <a:pPr marL="0" marR="0" indent="0">
              <a:spcBef>
                <a:spcPts val="0"/>
              </a:spcBef>
              <a:spcAft>
                <a:spcPts val="0"/>
              </a:spcAft>
              <a:buNone/>
            </a:pPr>
            <a:r>
              <a:rPr lang="en-US" sz="1800" dirty="0">
                <a:latin typeface="Calibri" panose="020F0502020204030204" pitchFamily="34" charset="0"/>
                <a:ea typeface="Calibri" panose="020F0502020204030204" pitchFamily="34" charset="0"/>
              </a:rPr>
              <a:t>Mardi Gras </a:t>
            </a:r>
            <a:r>
              <a:rPr lang="en-US" sz="1800" dirty="0" err="1">
                <a:latin typeface="Calibri" panose="020F0502020204030204" pitchFamily="34" charset="0"/>
                <a:ea typeface="Calibri" panose="020F0502020204030204" pitchFamily="34" charset="0"/>
              </a:rPr>
              <a:t>Blrm</a:t>
            </a:r>
            <a:r>
              <a:rPr lang="en-US" sz="1800" dirty="0">
                <a:latin typeface="Calibri" panose="020F0502020204030204" pitchFamily="34" charset="0"/>
                <a:ea typeface="Calibri" panose="020F0502020204030204" pitchFamily="34" charset="0"/>
              </a:rPr>
              <a:t> Salon C, New Orleans Marriott</a:t>
            </a:r>
            <a:endParaRPr lang="en-US" sz="1800" dirty="0">
              <a:effectLst/>
              <a:latin typeface="Calibri" panose="020F0502020204030204" pitchFamily="34" charset="0"/>
              <a:ea typeface="Calibri" panose="020F0502020204030204" pitchFamily="34" charset="0"/>
            </a:endParaRPr>
          </a:p>
        </p:txBody>
      </p:sp>
      <p:sp>
        <p:nvSpPr>
          <p:cNvPr id="4" name="Footer Placeholder 3">
            <a:extLst>
              <a:ext uri="{FF2B5EF4-FFF2-40B4-BE49-F238E27FC236}">
                <a16:creationId xmlns:a16="http://schemas.microsoft.com/office/drawing/2014/main" id="{47804D60-C3C4-F00A-63D3-1ECF3381519B}"/>
              </a:ext>
            </a:extLst>
          </p:cNvPr>
          <p:cNvSpPr>
            <a:spLocks noGrp="1"/>
          </p:cNvSpPr>
          <p:nvPr>
            <p:ph type="ftr" sz="quarter" idx="11"/>
          </p:nvPr>
        </p:nvSpPr>
        <p:spPr/>
        <p:txBody>
          <a:bodyPr/>
          <a:lstStyle/>
          <a:p>
            <a:endParaRPr lang="en-US" dirty="0"/>
          </a:p>
        </p:txBody>
      </p:sp>
      <p:sp>
        <p:nvSpPr>
          <p:cNvPr id="5" name="Content Placeholder 2">
            <a:extLst>
              <a:ext uri="{FF2B5EF4-FFF2-40B4-BE49-F238E27FC236}">
                <a16:creationId xmlns:a16="http://schemas.microsoft.com/office/drawing/2014/main" id="{26A9F31A-C0C8-7093-CC72-DD6F349CFBAF}"/>
              </a:ext>
            </a:extLst>
          </p:cNvPr>
          <p:cNvSpPr txBox="1">
            <a:spLocks/>
          </p:cNvSpPr>
          <p:nvPr/>
        </p:nvSpPr>
        <p:spPr>
          <a:xfrm>
            <a:off x="5763985" y="1713933"/>
            <a:ext cx="6019800" cy="3589564"/>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ts val="0"/>
              </a:spcBef>
              <a:buNone/>
            </a:pPr>
            <a:r>
              <a:rPr lang="en-US" sz="1800" b="1" dirty="0">
                <a:latin typeface="Calibri" panose="020F0502020204030204" pitchFamily="34" charset="0"/>
                <a:ea typeface="Times New Roman" panose="02020603050405020304" pitchFamily="18" charset="0"/>
              </a:rPr>
              <a:t>IAB Networking Reception</a:t>
            </a:r>
            <a:endParaRPr lang="en-US" sz="1800" dirty="0">
              <a:latin typeface="Calibri" panose="020F0502020204030204" pitchFamily="34" charset="0"/>
              <a:ea typeface="Calibri" panose="020F0502020204030204" pitchFamily="34" charset="0"/>
            </a:endParaRPr>
          </a:p>
          <a:p>
            <a:pPr marL="0" indent="0">
              <a:spcBef>
                <a:spcPts val="0"/>
              </a:spcBef>
              <a:buNone/>
            </a:pPr>
            <a:r>
              <a:rPr lang="en-US" sz="1800" dirty="0">
                <a:latin typeface="Calibri" panose="020F0502020204030204" pitchFamily="34" charset="0"/>
                <a:ea typeface="Times New Roman" panose="02020603050405020304" pitchFamily="18" charset="0"/>
              </a:rPr>
              <a:t>Monday, March 18</a:t>
            </a:r>
            <a:r>
              <a:rPr lang="en-US" sz="1800" baseline="30000" dirty="0">
                <a:latin typeface="Calibri" panose="020F0502020204030204" pitchFamily="34" charset="0"/>
                <a:ea typeface="Times New Roman" panose="02020603050405020304" pitchFamily="18" charset="0"/>
              </a:rPr>
              <a:t>th</a:t>
            </a:r>
            <a:r>
              <a:rPr lang="en-US" sz="1800" dirty="0">
                <a:latin typeface="Calibri" panose="020F0502020204030204" pitchFamily="34" charset="0"/>
                <a:ea typeface="Times New Roman" panose="02020603050405020304" pitchFamily="18" charset="0"/>
              </a:rPr>
              <a:t> , </a:t>
            </a:r>
            <a:r>
              <a:rPr lang="en-US" sz="1800" dirty="0">
                <a:latin typeface="Calibri" panose="020F0502020204030204" pitchFamily="34" charset="0"/>
                <a:ea typeface="Calibri" panose="020F0502020204030204" pitchFamily="34" charset="0"/>
              </a:rPr>
              <a:t>6:00-7:00 pm</a:t>
            </a:r>
          </a:p>
          <a:p>
            <a:pPr marL="0" indent="0">
              <a:spcBef>
                <a:spcPts val="0"/>
              </a:spcBef>
              <a:buNone/>
            </a:pPr>
            <a:r>
              <a:rPr lang="en-US" sz="1800" dirty="0">
                <a:latin typeface="Calibri" panose="020F0502020204030204" pitchFamily="34" charset="0"/>
                <a:ea typeface="Times New Roman" panose="02020603050405020304" pitchFamily="18" charset="0"/>
              </a:rPr>
              <a:t>Henry’s Gin Bar, 317 </a:t>
            </a:r>
            <a:r>
              <a:rPr lang="en-US" sz="1800" dirty="0" err="1">
                <a:latin typeface="Calibri" panose="020F0502020204030204" pitchFamily="34" charset="0"/>
                <a:ea typeface="Times New Roman" panose="02020603050405020304" pitchFamily="18" charset="0"/>
              </a:rPr>
              <a:t>Baronne</a:t>
            </a:r>
            <a:r>
              <a:rPr lang="en-US" sz="1800" dirty="0">
                <a:latin typeface="Calibri" panose="020F0502020204030204" pitchFamily="34" charset="0"/>
                <a:ea typeface="Times New Roman" panose="02020603050405020304" pitchFamily="18" charset="0"/>
              </a:rPr>
              <a:t> St, New Orleans LA 70112</a:t>
            </a:r>
          </a:p>
          <a:p>
            <a:pPr marL="0">
              <a:spcBef>
                <a:spcPts val="0"/>
              </a:spcBef>
            </a:pPr>
            <a:endParaRPr lang="en-US" sz="1800" dirty="0">
              <a:latin typeface="Calibri" panose="020F0502020204030204" pitchFamily="34" charset="0"/>
              <a:ea typeface="Calibri" panose="020F0502020204030204" pitchFamily="34" charset="0"/>
            </a:endParaRPr>
          </a:p>
          <a:p>
            <a:pPr marL="0">
              <a:spcBef>
                <a:spcPts val="0"/>
              </a:spcBef>
            </a:pPr>
            <a:endParaRPr lang="en-US" sz="1800" dirty="0">
              <a:latin typeface="Calibri" panose="020F0502020204030204" pitchFamily="34" charset="0"/>
              <a:ea typeface="Calibri" panose="020F0502020204030204" pitchFamily="34" charset="0"/>
            </a:endParaRPr>
          </a:p>
          <a:p>
            <a:pPr marL="0" indent="0">
              <a:spcBef>
                <a:spcPts val="0"/>
              </a:spcBef>
              <a:buNone/>
            </a:pPr>
            <a:r>
              <a:rPr lang="en-US" sz="1800" b="1" dirty="0">
                <a:latin typeface="Calibri" panose="020F0502020204030204" pitchFamily="34" charset="0"/>
                <a:ea typeface="Times New Roman" panose="02020603050405020304" pitchFamily="18" charset="0"/>
              </a:rPr>
              <a:t>Industrial Advisory Board Meeting</a:t>
            </a:r>
            <a:endParaRPr lang="en-US" sz="1800" dirty="0">
              <a:latin typeface="Calibri" panose="020F0502020204030204" pitchFamily="34" charset="0"/>
              <a:ea typeface="Calibri" panose="020F0502020204030204" pitchFamily="34" charset="0"/>
            </a:endParaRPr>
          </a:p>
          <a:p>
            <a:pPr marL="0" indent="0">
              <a:spcBef>
                <a:spcPts val="0"/>
              </a:spcBef>
              <a:buNone/>
            </a:pPr>
            <a:r>
              <a:rPr lang="en-US" sz="1800" dirty="0">
                <a:latin typeface="Calibri" panose="020F0502020204030204" pitchFamily="34" charset="0"/>
                <a:ea typeface="Times New Roman" panose="02020603050405020304" pitchFamily="18" charset="0"/>
              </a:rPr>
              <a:t>Tuesday, March 19</a:t>
            </a:r>
            <a:r>
              <a:rPr lang="en-US" sz="1800" baseline="30000" dirty="0">
                <a:latin typeface="Calibri" panose="020F0502020204030204" pitchFamily="34" charset="0"/>
                <a:ea typeface="Times New Roman" panose="02020603050405020304" pitchFamily="18" charset="0"/>
              </a:rPr>
              <a:t>th</a:t>
            </a:r>
            <a:r>
              <a:rPr lang="en-US" sz="1800" dirty="0">
                <a:latin typeface="Calibri" panose="020F0502020204030204" pitchFamily="34" charset="0"/>
                <a:ea typeface="Times New Roman" panose="02020603050405020304" pitchFamily="18" charset="0"/>
              </a:rPr>
              <a:t> (continental breakfast), 7:30 am</a:t>
            </a:r>
          </a:p>
          <a:p>
            <a:pPr marL="0" indent="0">
              <a:spcBef>
                <a:spcPts val="0"/>
              </a:spcBef>
              <a:buNone/>
            </a:pPr>
            <a:r>
              <a:rPr lang="en-US" sz="1800" dirty="0">
                <a:latin typeface="Calibri" panose="020F0502020204030204" pitchFamily="34" charset="0"/>
                <a:ea typeface="Times New Roman" panose="02020603050405020304" pitchFamily="18" charset="0"/>
              </a:rPr>
              <a:t>New Orleans Marriott, Studio ½</a:t>
            </a:r>
          </a:p>
          <a:p>
            <a:pPr marL="0" indent="0">
              <a:spcBef>
                <a:spcPts val="0"/>
              </a:spcBef>
              <a:buNone/>
            </a:pPr>
            <a:r>
              <a:rPr lang="en-US" sz="1800" dirty="0">
                <a:latin typeface="Calibri" panose="020F0502020204030204" pitchFamily="34" charset="0"/>
              </a:rPr>
              <a:t>IIAB and </a:t>
            </a:r>
            <a:r>
              <a:rPr lang="en-US" sz="1800" dirty="0" err="1">
                <a:latin typeface="Calibri" panose="020F0502020204030204" pitchFamily="34" charset="0"/>
              </a:rPr>
              <a:t>EcCom</a:t>
            </a:r>
            <a:r>
              <a:rPr lang="en-US" sz="1800" dirty="0">
                <a:latin typeface="Calibri" panose="020F0502020204030204" pitchFamily="34" charset="0"/>
              </a:rPr>
              <a:t> Members only</a:t>
            </a:r>
          </a:p>
          <a:p>
            <a:pPr marL="0" indent="0">
              <a:spcBef>
                <a:spcPts val="0"/>
              </a:spcBef>
              <a:buNone/>
            </a:pPr>
            <a:endParaRPr lang="en-US" dirty="0">
              <a:highlight>
                <a:srgbClr val="FF00FF"/>
              </a:highlight>
            </a:endParaRPr>
          </a:p>
        </p:txBody>
      </p:sp>
    </p:spTree>
    <p:extLst>
      <p:ext uri="{BB962C8B-B14F-4D97-AF65-F5344CB8AC3E}">
        <p14:creationId xmlns:p14="http://schemas.microsoft.com/office/powerpoint/2010/main" val="14919494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CB89136-711E-9806-795D-77103B4C9B60}"/>
              </a:ext>
            </a:extLst>
          </p:cNvPr>
          <p:cNvSpPr>
            <a:spLocks noGrp="1"/>
          </p:cNvSpPr>
          <p:nvPr>
            <p:ph type="title"/>
          </p:nvPr>
        </p:nvSpPr>
        <p:spPr/>
        <p:txBody>
          <a:bodyPr/>
          <a:lstStyle/>
          <a:p>
            <a:r>
              <a:rPr lang="en-US" dirty="0"/>
              <a:t>“Elevating the Power of Data for Materials and Chemical Scientists in Industry”</a:t>
            </a:r>
          </a:p>
        </p:txBody>
      </p:sp>
      <p:sp>
        <p:nvSpPr>
          <p:cNvPr id="4" name="Footer Placeholder 3">
            <a:extLst>
              <a:ext uri="{FF2B5EF4-FFF2-40B4-BE49-F238E27FC236}">
                <a16:creationId xmlns:a16="http://schemas.microsoft.com/office/drawing/2014/main" id="{F19B3FDA-168C-57A8-41D4-8FE171C00321}"/>
              </a:ext>
            </a:extLst>
          </p:cNvPr>
          <p:cNvSpPr>
            <a:spLocks noGrp="1"/>
          </p:cNvSpPr>
          <p:nvPr>
            <p:ph type="ftr" sz="quarter" idx="11"/>
          </p:nvPr>
        </p:nvSpPr>
        <p:spPr/>
        <p:txBody>
          <a:bodyPr/>
          <a:lstStyle/>
          <a:p>
            <a:endParaRPr lang="en-US" dirty="0"/>
          </a:p>
        </p:txBody>
      </p:sp>
      <p:sp>
        <p:nvSpPr>
          <p:cNvPr id="3" name="Content Placeholder 2">
            <a:extLst>
              <a:ext uri="{FF2B5EF4-FFF2-40B4-BE49-F238E27FC236}">
                <a16:creationId xmlns:a16="http://schemas.microsoft.com/office/drawing/2014/main" id="{A2F245DE-94EA-29C3-EFD6-C428D4B3A13C}"/>
              </a:ext>
            </a:extLst>
          </p:cNvPr>
          <p:cNvSpPr>
            <a:spLocks noGrp="1"/>
          </p:cNvSpPr>
          <p:nvPr>
            <p:ph idx="1"/>
          </p:nvPr>
        </p:nvSpPr>
        <p:spPr>
          <a:xfrm>
            <a:off x="5221357" y="1765628"/>
            <a:ext cx="6785114" cy="4426279"/>
          </a:xfrm>
        </p:spPr>
        <p:txBody>
          <a:bodyPr>
            <a:normAutofit/>
          </a:bodyPr>
          <a:lstStyle/>
          <a:p>
            <a:r>
              <a:rPr lang="en-US" sz="1800" dirty="0"/>
              <a:t>Re-connected with Mike </a:t>
            </a:r>
            <a:r>
              <a:rPr lang="en-US" sz="1800" dirty="0" err="1"/>
              <a:t>Heiber</a:t>
            </a:r>
            <a:r>
              <a:rPr lang="en-US" sz="1800" dirty="0"/>
              <a:t> (Materials Informatics Leader at Enthought, which focuses on digitalization in materials science/chemistry, life science, semiconductor, energy industries)</a:t>
            </a:r>
          </a:p>
          <a:p>
            <a:r>
              <a:rPr lang="en-US" sz="1800" dirty="0"/>
              <a:t>Connection to Alix Schmidt (Senior Data Scientist, R&amp;D Model Deployment Strategy Leader at Dow)</a:t>
            </a:r>
          </a:p>
          <a:p>
            <a:pPr lvl="1"/>
            <a:r>
              <a:rPr lang="en-US" sz="1800" dirty="0"/>
              <a:t>Learned that they previously organized a session at the spring </a:t>
            </a:r>
            <a:r>
              <a:rPr lang="en-US" sz="1800" dirty="0" err="1"/>
              <a:t>AIChE</a:t>
            </a:r>
            <a:r>
              <a:rPr lang="en-US" sz="1800" dirty="0"/>
              <a:t> Meeting (chemical engineering annual meeting)</a:t>
            </a:r>
          </a:p>
          <a:p>
            <a:pPr lvl="1"/>
            <a:r>
              <a:rPr lang="en-US" sz="1800" dirty="0"/>
              <a:t>Disorganized advertising, not the right fit for attendees</a:t>
            </a:r>
          </a:p>
          <a:p>
            <a:pPr lvl="1"/>
            <a:r>
              <a:rPr lang="en-US" sz="1800" dirty="0"/>
              <a:t>Discussed lessons learned and focused symposium description to reach targeted speakers and audience</a:t>
            </a:r>
          </a:p>
          <a:p>
            <a:r>
              <a:rPr lang="en-US" sz="1800" dirty="0"/>
              <a:t>Cross-listed with PMSE ($ support) and CINF divisions for advertisement to members</a:t>
            </a:r>
          </a:p>
        </p:txBody>
      </p:sp>
      <p:pic>
        <p:nvPicPr>
          <p:cNvPr id="2050" name="Picture 2" descr="Image">
            <a:extLst>
              <a:ext uri="{FF2B5EF4-FFF2-40B4-BE49-F238E27FC236}">
                <a16:creationId xmlns:a16="http://schemas.microsoft.com/office/drawing/2014/main" id="{99B83A79-ED46-464B-D841-1CBCCA7B100C}"/>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23901" y="1690688"/>
            <a:ext cx="3903584" cy="4912172"/>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7" descr="A poster with text and images&#10;&#10;Description automatically generated">
            <a:extLst>
              <a:ext uri="{FF2B5EF4-FFF2-40B4-BE49-F238E27FC236}">
                <a16:creationId xmlns:a16="http://schemas.microsoft.com/office/drawing/2014/main" id="{FD608D92-E4AD-26D5-AE5E-F4B80AEBD502}"/>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9695" y="5084699"/>
            <a:ext cx="1636776" cy="1636776"/>
          </a:xfrm>
          <a:prstGeom prst="rect">
            <a:avLst/>
          </a:prstGeom>
        </p:spPr>
      </p:pic>
      <p:pic>
        <p:nvPicPr>
          <p:cNvPr id="9" name="Picture 8" descr="A person standing in front of a body of water&#10;&#10;Description automatically generated with medium confidence">
            <a:extLst>
              <a:ext uri="{FF2B5EF4-FFF2-40B4-BE49-F238E27FC236}">
                <a16:creationId xmlns:a16="http://schemas.microsoft.com/office/drawing/2014/main" id="{DBFAF94B-EBFC-FD68-2F75-0189918E6485}"/>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610217" y="5487035"/>
            <a:ext cx="1005840" cy="1005840"/>
          </a:xfrm>
          <a:prstGeom prst="ellipse">
            <a:avLst/>
          </a:prstGeom>
          <a:ln w="63500" cap="rnd">
            <a:solidFill>
              <a:srgbClr val="333333"/>
            </a:solidFill>
          </a:ln>
          <a:effectLst/>
          <a:scene3d>
            <a:camera prst="orthographicFront"/>
            <a:lightRig rig="contrasting" dir="t">
              <a:rot lat="0" lon="0" rev="3000000"/>
            </a:lightRig>
          </a:scene3d>
          <a:sp3d contourW="7620">
            <a:bevelT w="95250" h="31750"/>
            <a:contourClr>
              <a:srgbClr val="333333"/>
            </a:contourClr>
          </a:sp3d>
        </p:spPr>
      </p:pic>
      <p:pic>
        <p:nvPicPr>
          <p:cNvPr id="2052" name="Picture 4" descr="Profile photo of Michael Heiber">
            <a:extLst>
              <a:ext uri="{FF2B5EF4-FFF2-40B4-BE49-F238E27FC236}">
                <a16:creationId xmlns:a16="http://schemas.microsoft.com/office/drawing/2014/main" id="{476AB905-6EC6-A18D-947C-05C75BE6DA13}"/>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6995670" y="5494253"/>
            <a:ext cx="1005840" cy="1005840"/>
          </a:xfrm>
          <a:prstGeom prst="ellipse">
            <a:avLst/>
          </a:prstGeom>
          <a:ln w="63500" cap="rnd">
            <a:solidFill>
              <a:srgbClr val="333333"/>
            </a:solidFill>
          </a:ln>
          <a:effectLst/>
          <a:scene3d>
            <a:camera prst="orthographicFront"/>
            <a:lightRig rig="contrasting" dir="t">
              <a:rot lat="0" lon="0" rev="3000000"/>
            </a:lightRig>
          </a:scene3d>
          <a:sp3d contourW="7620">
            <a:bevelT w="95250" h="31750"/>
            <a:contourClr>
              <a:srgbClr val="333333"/>
            </a:contourClr>
          </a:sp3d>
          <a:extLst>
            <a:ext uri="{909E8E84-426E-40DD-AFC4-6F175D3DCCD1}">
              <a14:hiddenFill xmlns:a14="http://schemas.microsoft.com/office/drawing/2010/main">
                <a:solidFill>
                  <a:srgbClr val="FFFFFF"/>
                </a:solidFill>
              </a14:hiddenFill>
            </a:ext>
          </a:extLst>
        </p:spPr>
      </p:pic>
      <p:pic>
        <p:nvPicPr>
          <p:cNvPr id="2054" name="Picture 6" descr="Profile photo of Alix Schmidt">
            <a:extLst>
              <a:ext uri="{FF2B5EF4-FFF2-40B4-BE49-F238E27FC236}">
                <a16:creationId xmlns:a16="http://schemas.microsoft.com/office/drawing/2014/main" id="{EFAC1EB1-B9F7-0E46-B97B-749ED4C59C22}"/>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8381123" y="5494253"/>
            <a:ext cx="1005840" cy="1005840"/>
          </a:xfrm>
          <a:prstGeom prst="ellipse">
            <a:avLst/>
          </a:prstGeom>
          <a:ln w="63500" cap="rnd">
            <a:solidFill>
              <a:srgbClr val="333333"/>
            </a:solidFill>
          </a:ln>
          <a:effectLst/>
          <a:scene3d>
            <a:camera prst="orthographicFront"/>
            <a:lightRig rig="contrasting" dir="t">
              <a:rot lat="0" lon="0" rev="3000000"/>
            </a:lightRig>
          </a:scene3d>
          <a:sp3d contourW="7620">
            <a:bevelT w="95250" h="31750"/>
            <a:contourClr>
              <a:srgbClr val="333333"/>
            </a:contourClr>
          </a:sp3d>
          <a:extLst>
            <a:ext uri="{909E8E84-426E-40DD-AFC4-6F175D3DCCD1}">
              <a14:hiddenFill xmlns:a14="http://schemas.microsoft.com/office/drawing/2010/main">
                <a:solidFill>
                  <a:srgbClr val="FFFFFF"/>
                </a:solidFill>
              </a14:hiddenFill>
            </a:ext>
          </a:extLst>
        </p:spPr>
      </p:pic>
      <p:cxnSp>
        <p:nvCxnSpPr>
          <p:cNvPr id="17" name="Straight Connector 16">
            <a:extLst>
              <a:ext uri="{FF2B5EF4-FFF2-40B4-BE49-F238E27FC236}">
                <a16:creationId xmlns:a16="http://schemas.microsoft.com/office/drawing/2014/main" id="{96F0D620-D7C0-0334-D9BA-3730F8E3E934}"/>
              </a:ext>
            </a:extLst>
          </p:cNvPr>
          <p:cNvCxnSpPr>
            <a:cxnSpLocks/>
          </p:cNvCxnSpPr>
          <p:nvPr/>
        </p:nvCxnSpPr>
        <p:spPr>
          <a:xfrm>
            <a:off x="1516828" y="2226833"/>
            <a:ext cx="2979868" cy="0"/>
          </a:xfrm>
          <a:prstGeom prst="line">
            <a:avLst/>
          </a:prstGeom>
          <a:ln w="28575">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D4865DF4-1EBB-9E1E-12C3-22BE4F49D31C}"/>
              </a:ext>
            </a:extLst>
          </p:cNvPr>
          <p:cNvCxnSpPr>
            <a:cxnSpLocks/>
          </p:cNvCxnSpPr>
          <p:nvPr/>
        </p:nvCxnSpPr>
        <p:spPr>
          <a:xfrm>
            <a:off x="805926" y="2422264"/>
            <a:ext cx="3690770" cy="0"/>
          </a:xfrm>
          <a:prstGeom prst="line">
            <a:avLst/>
          </a:prstGeom>
          <a:ln w="28575">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78D968D7-5760-F63F-4E17-6E1773DEF0F5}"/>
              </a:ext>
            </a:extLst>
          </p:cNvPr>
          <p:cNvCxnSpPr>
            <a:cxnSpLocks/>
          </p:cNvCxnSpPr>
          <p:nvPr/>
        </p:nvCxnSpPr>
        <p:spPr>
          <a:xfrm>
            <a:off x="805926" y="2585422"/>
            <a:ext cx="3690770" cy="0"/>
          </a:xfrm>
          <a:prstGeom prst="line">
            <a:avLst/>
          </a:prstGeom>
          <a:ln w="28575">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A927AE42-B516-54B2-66B1-C6918547AFCC}"/>
              </a:ext>
            </a:extLst>
          </p:cNvPr>
          <p:cNvCxnSpPr>
            <a:cxnSpLocks/>
          </p:cNvCxnSpPr>
          <p:nvPr/>
        </p:nvCxnSpPr>
        <p:spPr>
          <a:xfrm>
            <a:off x="805926" y="2759338"/>
            <a:ext cx="2625763" cy="0"/>
          </a:xfrm>
          <a:prstGeom prst="line">
            <a:avLst/>
          </a:prstGeom>
          <a:ln w="28575">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175D73A4-A6B5-B6D0-87C6-DB9FE1857096}"/>
              </a:ext>
            </a:extLst>
          </p:cNvPr>
          <p:cNvCxnSpPr>
            <a:cxnSpLocks/>
          </p:cNvCxnSpPr>
          <p:nvPr/>
        </p:nvCxnSpPr>
        <p:spPr>
          <a:xfrm>
            <a:off x="1455869" y="5870091"/>
            <a:ext cx="3040827" cy="0"/>
          </a:xfrm>
          <a:prstGeom prst="line">
            <a:avLst/>
          </a:prstGeom>
          <a:ln w="28575">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0BE00A37-D54B-5834-F4ED-D9F905558DD0}"/>
              </a:ext>
            </a:extLst>
          </p:cNvPr>
          <p:cNvCxnSpPr>
            <a:cxnSpLocks/>
          </p:cNvCxnSpPr>
          <p:nvPr/>
        </p:nvCxnSpPr>
        <p:spPr>
          <a:xfrm>
            <a:off x="805926" y="6040420"/>
            <a:ext cx="3690770" cy="0"/>
          </a:xfrm>
          <a:prstGeom prst="line">
            <a:avLst/>
          </a:prstGeom>
          <a:ln w="28575">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5370A29E-4ED9-9104-70B4-54C664B0B5D1}"/>
              </a:ext>
            </a:extLst>
          </p:cNvPr>
          <p:cNvCxnSpPr>
            <a:cxnSpLocks/>
          </p:cNvCxnSpPr>
          <p:nvPr/>
        </p:nvCxnSpPr>
        <p:spPr>
          <a:xfrm>
            <a:off x="805926" y="6220595"/>
            <a:ext cx="3690770" cy="0"/>
          </a:xfrm>
          <a:prstGeom prst="line">
            <a:avLst/>
          </a:prstGeom>
          <a:ln w="28575">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16D88A3F-4366-51F1-8A31-199F4A93FADE}"/>
              </a:ext>
            </a:extLst>
          </p:cNvPr>
          <p:cNvCxnSpPr>
            <a:cxnSpLocks/>
          </p:cNvCxnSpPr>
          <p:nvPr/>
        </p:nvCxnSpPr>
        <p:spPr>
          <a:xfrm>
            <a:off x="805926" y="6382333"/>
            <a:ext cx="3690770" cy="0"/>
          </a:xfrm>
          <a:prstGeom prst="line">
            <a:avLst/>
          </a:prstGeom>
          <a:ln w="28575">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726E9171-71C8-FB58-AD9E-F275133A14E2}"/>
              </a:ext>
            </a:extLst>
          </p:cNvPr>
          <p:cNvCxnSpPr>
            <a:cxnSpLocks/>
          </p:cNvCxnSpPr>
          <p:nvPr/>
        </p:nvCxnSpPr>
        <p:spPr>
          <a:xfrm>
            <a:off x="805926" y="6568796"/>
            <a:ext cx="2625763" cy="0"/>
          </a:xfrm>
          <a:prstGeom prst="line">
            <a:avLst/>
          </a:prstGeom>
          <a:ln w="28575">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9D884CF9-C5EB-4066-C254-0BD8DB08CCBE}"/>
              </a:ext>
            </a:extLst>
          </p:cNvPr>
          <p:cNvCxnSpPr>
            <a:cxnSpLocks/>
          </p:cNvCxnSpPr>
          <p:nvPr/>
        </p:nvCxnSpPr>
        <p:spPr>
          <a:xfrm>
            <a:off x="954741" y="4484147"/>
            <a:ext cx="3176194" cy="0"/>
          </a:xfrm>
          <a:prstGeom prst="line">
            <a:avLst/>
          </a:prstGeom>
          <a:ln w="28575">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39F66901-0E41-E0D7-4EED-B74D7FBA4448}"/>
              </a:ext>
            </a:extLst>
          </p:cNvPr>
          <p:cNvCxnSpPr>
            <a:cxnSpLocks/>
          </p:cNvCxnSpPr>
          <p:nvPr/>
        </p:nvCxnSpPr>
        <p:spPr>
          <a:xfrm>
            <a:off x="805926" y="4658062"/>
            <a:ext cx="3604709" cy="0"/>
          </a:xfrm>
          <a:prstGeom prst="line">
            <a:avLst/>
          </a:prstGeom>
          <a:ln w="28575">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20AB08A3-CEBC-E546-29DC-9FA88AAB95C3}"/>
              </a:ext>
            </a:extLst>
          </p:cNvPr>
          <p:cNvCxnSpPr>
            <a:cxnSpLocks/>
          </p:cNvCxnSpPr>
          <p:nvPr/>
        </p:nvCxnSpPr>
        <p:spPr>
          <a:xfrm>
            <a:off x="801444" y="4842735"/>
            <a:ext cx="3237156" cy="0"/>
          </a:xfrm>
          <a:prstGeom prst="line">
            <a:avLst/>
          </a:prstGeom>
          <a:ln w="28575">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3E2824B1-D034-B692-1814-B6B71644027E}"/>
              </a:ext>
            </a:extLst>
          </p:cNvPr>
          <p:cNvCxnSpPr>
            <a:cxnSpLocks/>
          </p:cNvCxnSpPr>
          <p:nvPr/>
        </p:nvCxnSpPr>
        <p:spPr>
          <a:xfrm>
            <a:off x="805926" y="5011187"/>
            <a:ext cx="3604709" cy="0"/>
          </a:xfrm>
          <a:prstGeom prst="line">
            <a:avLst/>
          </a:prstGeom>
          <a:ln w="28575">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D6F9E42A-E89B-1F3A-BBFE-DCE38E691B4E}"/>
              </a:ext>
            </a:extLst>
          </p:cNvPr>
          <p:cNvCxnSpPr>
            <a:cxnSpLocks/>
          </p:cNvCxnSpPr>
          <p:nvPr/>
        </p:nvCxnSpPr>
        <p:spPr>
          <a:xfrm>
            <a:off x="805926" y="5185102"/>
            <a:ext cx="2324549" cy="0"/>
          </a:xfrm>
          <a:prstGeom prst="line">
            <a:avLst/>
          </a:prstGeom>
          <a:ln w="28575">
            <a:solidFill>
              <a:srgbClr val="FF00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1821828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ACS Polymers Au">
            <a:extLst>
              <a:ext uri="{FF2B5EF4-FFF2-40B4-BE49-F238E27FC236}">
                <a16:creationId xmlns:a16="http://schemas.microsoft.com/office/drawing/2014/main" id="{B469BC83-4B77-DBD6-F1AE-618224A052A3}"/>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0459232" y="5139827"/>
            <a:ext cx="1633603" cy="1633603"/>
          </a:xfrm>
          <a:prstGeom prst="rect">
            <a:avLst/>
          </a:prstGeom>
          <a:noFill/>
          <a:extLst>
            <a:ext uri="{909E8E84-426E-40DD-AFC4-6F175D3DCCD1}">
              <a14:hiddenFill xmlns:a14="http://schemas.microsoft.com/office/drawing/2010/main">
                <a:solidFill>
                  <a:srgbClr val="FFFFFF"/>
                </a:solidFill>
              </a14:hiddenFill>
            </a:ext>
          </a:extLst>
        </p:spPr>
      </p:pic>
      <p:sp>
        <p:nvSpPr>
          <p:cNvPr id="4" name="Title 1">
            <a:extLst>
              <a:ext uri="{FF2B5EF4-FFF2-40B4-BE49-F238E27FC236}">
                <a16:creationId xmlns:a16="http://schemas.microsoft.com/office/drawing/2014/main" id="{6AC13BAC-896F-4E61-DAE1-9C3DACF836FC}"/>
              </a:ext>
            </a:extLst>
          </p:cNvPr>
          <p:cNvSpPr>
            <a:spLocks noGrp="1"/>
          </p:cNvSpPr>
          <p:nvPr>
            <p:ph type="title"/>
          </p:nvPr>
        </p:nvSpPr>
        <p:spPr>
          <a:xfrm>
            <a:off x="490081" y="287751"/>
            <a:ext cx="11211838" cy="1553575"/>
          </a:xfrm>
        </p:spPr>
        <p:txBody>
          <a:bodyPr>
            <a:normAutofit fontScale="90000"/>
          </a:bodyPr>
          <a:lstStyle/>
          <a:p>
            <a:r>
              <a:rPr lang="en-US" dirty="0"/>
              <a:t>“Finding Professional Growth and Fulfillment for Early Career Polymer Scientists and Engineers in Industry”</a:t>
            </a:r>
          </a:p>
        </p:txBody>
      </p:sp>
      <p:sp>
        <p:nvSpPr>
          <p:cNvPr id="5" name="TextBox 4">
            <a:extLst>
              <a:ext uri="{FF2B5EF4-FFF2-40B4-BE49-F238E27FC236}">
                <a16:creationId xmlns:a16="http://schemas.microsoft.com/office/drawing/2014/main" id="{D7B3D973-A308-468F-6C11-0B01BE81873A}"/>
              </a:ext>
            </a:extLst>
          </p:cNvPr>
          <p:cNvSpPr txBox="1"/>
          <p:nvPr/>
        </p:nvSpPr>
        <p:spPr>
          <a:xfrm>
            <a:off x="573849" y="1803748"/>
            <a:ext cx="11044302" cy="646331"/>
          </a:xfrm>
          <a:prstGeom prst="rect">
            <a:avLst/>
          </a:prstGeom>
          <a:noFill/>
        </p:spPr>
        <p:txBody>
          <a:bodyPr wrap="square">
            <a:spAutoFit/>
          </a:bodyPr>
          <a:lstStyle/>
          <a:p>
            <a:r>
              <a:rPr lang="en-US" dirty="0">
                <a:latin typeface="Calibri" panose="020F0502020204030204" pitchFamily="34" charset="0"/>
                <a:cs typeface="Times New Roman" panose="02020603050405020304" pitchFamily="18" charset="0"/>
              </a:rPr>
              <a:t>What it means to be a professional polymer scientist has undergone rapid and dramatic recent changes that have introduced important questions to ponder as one develops their early career…</a:t>
            </a:r>
            <a:endParaRPr lang="en-US" dirty="0"/>
          </a:p>
        </p:txBody>
      </p:sp>
      <p:sp>
        <p:nvSpPr>
          <p:cNvPr id="7" name="TextBox 6">
            <a:extLst>
              <a:ext uri="{FF2B5EF4-FFF2-40B4-BE49-F238E27FC236}">
                <a16:creationId xmlns:a16="http://schemas.microsoft.com/office/drawing/2014/main" id="{09081DE2-0543-9A8A-A211-A5DB2703AB9E}"/>
              </a:ext>
            </a:extLst>
          </p:cNvPr>
          <p:cNvSpPr txBox="1"/>
          <p:nvPr/>
        </p:nvSpPr>
        <p:spPr>
          <a:xfrm>
            <a:off x="1112468" y="2541360"/>
            <a:ext cx="10273691" cy="2585323"/>
          </a:xfrm>
          <a:prstGeom prst="rect">
            <a:avLst/>
          </a:prstGeom>
          <a:noFill/>
        </p:spPr>
        <p:txBody>
          <a:bodyPr wrap="square">
            <a:spAutoFit/>
          </a:bodyPr>
          <a:lstStyle/>
          <a:p>
            <a:r>
              <a:rPr lang="en-US" i="1" dirty="0">
                <a:latin typeface="Calibri" panose="020F0502020204030204" pitchFamily="34" charset="0"/>
                <a:cs typeface="Times New Roman" panose="02020603050405020304" pitchFamily="18" charset="0"/>
              </a:rPr>
              <a:t> Where is the potential to further create value from mature commodity plastics? What are the gaps in legacy materials that can be filled by higher-performing, yet still economically viable products? How can we as an industry realistically address the continued growth of plastics waste and the dependence of the industry on petroleum-derived resources? How are software-driven tools reshaping the R&amp;D process?</a:t>
            </a:r>
          </a:p>
          <a:p>
            <a:endParaRPr lang="en-US" i="1" dirty="0">
              <a:latin typeface="Calibri" panose="020F0502020204030204" pitchFamily="34" charset="0"/>
              <a:cs typeface="Times New Roman" panose="02020603050405020304" pitchFamily="18" charset="0"/>
            </a:endParaRPr>
          </a:p>
          <a:p>
            <a:r>
              <a:rPr lang="en-US" i="1" dirty="0"/>
              <a:t>And in the background of these technical challenges, the early-career polymer scientist must also contend with questions related to the business of developing and selling polymer materials. For example, what are the practical realities of a corporate R&amp;D career in the de-risked business environment of the post-global financial crisis world? What opportunities do startups offer that large companies do not, and vice versa?</a:t>
            </a:r>
          </a:p>
        </p:txBody>
      </p:sp>
      <p:sp>
        <p:nvSpPr>
          <p:cNvPr id="9" name="TextBox 8">
            <a:extLst>
              <a:ext uri="{FF2B5EF4-FFF2-40B4-BE49-F238E27FC236}">
                <a16:creationId xmlns:a16="http://schemas.microsoft.com/office/drawing/2014/main" id="{8CAD2C17-DDA4-6A99-3E34-648823385AE3}"/>
              </a:ext>
            </a:extLst>
          </p:cNvPr>
          <p:cNvSpPr txBox="1"/>
          <p:nvPr/>
        </p:nvSpPr>
        <p:spPr>
          <a:xfrm>
            <a:off x="1112468" y="5217965"/>
            <a:ext cx="8970984" cy="1477328"/>
          </a:xfrm>
          <a:prstGeom prst="rect">
            <a:avLst/>
          </a:prstGeom>
          <a:noFill/>
        </p:spPr>
        <p:txBody>
          <a:bodyPr wrap="square">
            <a:spAutoFit/>
          </a:bodyPr>
          <a:lstStyle/>
          <a:p>
            <a:r>
              <a:rPr lang="en-US" i="1" dirty="0"/>
              <a:t>Indeed, finding a fulfilling career in polymer science is no longer as simple as deciding between academia and industry, and in the case of the latter, defaulting to a career at one of a handful of large chemical conglomerates. Considering these questions that will soon confront many PhD graduates, we write this Editorial to share our thoughts and experiences related to navigating our first years in the polymer industry.</a:t>
            </a:r>
          </a:p>
        </p:txBody>
      </p:sp>
      <p:sp>
        <p:nvSpPr>
          <p:cNvPr id="2" name="Footer Placeholder 1">
            <a:extLst>
              <a:ext uri="{FF2B5EF4-FFF2-40B4-BE49-F238E27FC236}">
                <a16:creationId xmlns:a16="http://schemas.microsoft.com/office/drawing/2014/main" id="{268D9D13-85EC-3737-DF27-CEE1566ECBD4}"/>
              </a:ext>
            </a:extLst>
          </p:cNvPr>
          <p:cNvSpPr>
            <a:spLocks noGrp="1"/>
          </p:cNvSpPr>
          <p:nvPr>
            <p:ph type="ftr" sz="quarter" idx="11"/>
          </p:nvPr>
        </p:nvSpPr>
        <p:spPr/>
        <p:txBody>
          <a:bodyPr/>
          <a:lstStyle/>
          <a:p>
            <a:endParaRPr lang="en-US" dirty="0"/>
          </a:p>
        </p:txBody>
      </p:sp>
    </p:spTree>
    <p:extLst>
      <p:ext uri="{BB962C8B-B14F-4D97-AF65-F5344CB8AC3E}">
        <p14:creationId xmlns:p14="http://schemas.microsoft.com/office/powerpoint/2010/main" val="125067742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Shape 88"/>
        <p:cNvGrpSpPr/>
        <p:nvPr/>
      </p:nvGrpSpPr>
      <p:grpSpPr>
        <a:xfrm>
          <a:off x="0" y="0"/>
          <a:ext cx="0" cy="0"/>
          <a:chOff x="0" y="0"/>
          <a:chExt cx="0" cy="0"/>
        </a:xfrm>
      </p:grpSpPr>
      <p:sp>
        <p:nvSpPr>
          <p:cNvPr id="89" name="Google Shape;89;p11"/>
          <p:cNvSpPr txBox="1"/>
          <p:nvPr/>
        </p:nvSpPr>
        <p:spPr>
          <a:xfrm>
            <a:off x="-9331" y="169887"/>
            <a:ext cx="12192000" cy="1138733"/>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3400" dirty="0">
                <a:latin typeface="Arial Black"/>
                <a:ea typeface="Arial Black"/>
                <a:cs typeface="Arial Black"/>
                <a:sym typeface="Arial Black"/>
              </a:rPr>
              <a:t>2024 POLY </a:t>
            </a:r>
          </a:p>
          <a:p>
            <a:pPr marL="0" marR="0" lvl="0" indent="0" algn="ctr" rtl="0">
              <a:spcBef>
                <a:spcPts val="0"/>
              </a:spcBef>
              <a:spcAft>
                <a:spcPts val="0"/>
              </a:spcAft>
              <a:buNone/>
            </a:pPr>
            <a:r>
              <a:rPr lang="en-US" sz="3400" dirty="0">
                <a:latin typeface="Arial Black"/>
                <a:ea typeface="Arial Black"/>
                <a:cs typeface="Arial Black"/>
                <a:sym typeface="Arial Black"/>
              </a:rPr>
              <a:t>Graduate Student Travel Award</a:t>
            </a:r>
            <a:endParaRPr dirty="0"/>
          </a:p>
        </p:txBody>
      </p:sp>
      <p:sp>
        <p:nvSpPr>
          <p:cNvPr id="91" name="Google Shape;91;p11"/>
          <p:cNvSpPr txBox="1"/>
          <p:nvPr/>
        </p:nvSpPr>
        <p:spPr>
          <a:xfrm>
            <a:off x="267308" y="5312933"/>
            <a:ext cx="11644587" cy="707886"/>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2000" b="1">
                <a:latin typeface="Arial"/>
                <a:ea typeface="Arial"/>
                <a:cs typeface="Arial"/>
                <a:sym typeface="Arial"/>
              </a:rPr>
              <a:t>To provide funding for graduate students studying polymer science at </a:t>
            </a:r>
            <a:endParaRPr/>
          </a:p>
          <a:p>
            <a:pPr marL="0" marR="0" lvl="0" indent="0" algn="ctr" rtl="0">
              <a:spcBef>
                <a:spcPts val="0"/>
              </a:spcBef>
              <a:spcAft>
                <a:spcPts val="0"/>
              </a:spcAft>
              <a:buNone/>
            </a:pPr>
            <a:r>
              <a:rPr lang="en-US" sz="2000" b="1">
                <a:latin typeface="Arial"/>
                <a:ea typeface="Arial"/>
                <a:cs typeface="Arial"/>
                <a:sym typeface="Arial"/>
              </a:rPr>
              <a:t>US institutions to travel to national ACS meetings and present their results</a:t>
            </a:r>
            <a:endParaRPr/>
          </a:p>
        </p:txBody>
      </p:sp>
      <p:cxnSp>
        <p:nvCxnSpPr>
          <p:cNvPr id="92" name="Google Shape;92;p11"/>
          <p:cNvCxnSpPr/>
          <p:nvPr/>
        </p:nvCxnSpPr>
        <p:spPr>
          <a:xfrm>
            <a:off x="814979" y="1473058"/>
            <a:ext cx="9551331" cy="0"/>
          </a:xfrm>
          <a:prstGeom prst="straightConnector1">
            <a:avLst/>
          </a:prstGeom>
          <a:noFill/>
          <a:ln w="19050" cap="flat" cmpd="sng">
            <a:solidFill>
              <a:srgbClr val="000099"/>
            </a:solidFill>
            <a:prstDash val="dot"/>
            <a:round/>
            <a:headEnd type="none" w="sm" len="sm"/>
            <a:tailEnd type="none" w="sm" len="sm"/>
          </a:ln>
        </p:spPr>
      </p:cxnSp>
      <p:pic>
        <p:nvPicPr>
          <p:cNvPr id="93" name="Google Shape;93;p11" descr="Background pattern&#10;&#10;Description automatically generated"/>
          <p:cNvPicPr preferRelativeResize="0"/>
          <p:nvPr/>
        </p:nvPicPr>
        <p:blipFill rotWithShape="1">
          <a:blip r:embed="rId3">
            <a:alphaModFix/>
          </a:blip>
          <a:srcRect/>
          <a:stretch/>
        </p:blipFill>
        <p:spPr>
          <a:xfrm>
            <a:off x="267308" y="152562"/>
            <a:ext cx="955002" cy="1383190"/>
          </a:xfrm>
          <a:prstGeom prst="rect">
            <a:avLst/>
          </a:prstGeom>
          <a:noFill/>
          <a:ln>
            <a:noFill/>
          </a:ln>
        </p:spPr>
      </p:pic>
      <p:pic>
        <p:nvPicPr>
          <p:cNvPr id="94" name="Google Shape;94;p11" descr="A blue and yellow sign with black text&#10;&#10;Description automatically generated"/>
          <p:cNvPicPr preferRelativeResize="0"/>
          <p:nvPr/>
        </p:nvPicPr>
        <p:blipFill rotWithShape="1">
          <a:blip r:embed="rId4">
            <a:alphaModFix/>
          </a:blip>
          <a:srcRect/>
          <a:stretch/>
        </p:blipFill>
        <p:spPr>
          <a:xfrm>
            <a:off x="10842147" y="119473"/>
            <a:ext cx="1069748" cy="1383190"/>
          </a:xfrm>
          <a:prstGeom prst="rect">
            <a:avLst/>
          </a:prstGeom>
          <a:noFill/>
          <a:ln>
            <a:noFill/>
          </a:ln>
        </p:spPr>
      </p:pic>
      <p:sp>
        <p:nvSpPr>
          <p:cNvPr id="5" name="TextBox 4">
            <a:extLst>
              <a:ext uri="{FF2B5EF4-FFF2-40B4-BE49-F238E27FC236}">
                <a16:creationId xmlns:a16="http://schemas.microsoft.com/office/drawing/2014/main" id="{CFD745B4-729A-52BE-5AFD-56B41336E4F5}"/>
              </a:ext>
            </a:extLst>
          </p:cNvPr>
          <p:cNvSpPr txBox="1"/>
          <p:nvPr/>
        </p:nvSpPr>
        <p:spPr>
          <a:xfrm>
            <a:off x="3075164" y="2334458"/>
            <a:ext cx="3491116" cy="2062103"/>
          </a:xfrm>
          <a:prstGeom prst="rect">
            <a:avLst/>
          </a:prstGeom>
          <a:noFill/>
        </p:spPr>
        <p:txBody>
          <a:bodyPr wrap="square">
            <a:spAutoFit/>
          </a:bodyPr>
          <a:lstStyle/>
          <a:p>
            <a:r>
              <a:rPr lang="en-US" sz="4000" b="1" dirty="0"/>
              <a:t>William W. Johnson</a:t>
            </a:r>
          </a:p>
          <a:p>
            <a:r>
              <a:rPr lang="en-US" sz="2400" dirty="0"/>
              <a:t>Mississippi State University</a:t>
            </a:r>
          </a:p>
        </p:txBody>
      </p:sp>
      <p:cxnSp>
        <p:nvCxnSpPr>
          <p:cNvPr id="7" name="Straight Connector 6">
            <a:extLst>
              <a:ext uri="{FF2B5EF4-FFF2-40B4-BE49-F238E27FC236}">
                <a16:creationId xmlns:a16="http://schemas.microsoft.com/office/drawing/2014/main" id="{0B923545-899D-703C-7589-93164EC7CB00}"/>
              </a:ext>
            </a:extLst>
          </p:cNvPr>
          <p:cNvCxnSpPr>
            <a:cxnSpLocks/>
          </p:cNvCxnSpPr>
          <p:nvPr/>
        </p:nvCxnSpPr>
        <p:spPr>
          <a:xfrm>
            <a:off x="936278" y="2018070"/>
            <a:ext cx="10515600" cy="0"/>
          </a:xfrm>
          <a:prstGeom prst="line">
            <a:avLst/>
          </a:prstGeom>
          <a:ln w="19050" cap="flat" cmpd="sng" algn="ctr">
            <a:solidFill>
              <a:srgbClr val="000099"/>
            </a:solidFill>
            <a:prstDash val="sysDot"/>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9" name="TextBox 8">
            <a:extLst>
              <a:ext uri="{FF2B5EF4-FFF2-40B4-BE49-F238E27FC236}">
                <a16:creationId xmlns:a16="http://schemas.microsoft.com/office/drawing/2014/main" id="{010E7506-BFE8-5261-53F4-47C7CD89D688}"/>
              </a:ext>
            </a:extLst>
          </p:cNvPr>
          <p:cNvSpPr txBox="1"/>
          <p:nvPr/>
        </p:nvSpPr>
        <p:spPr>
          <a:xfrm>
            <a:off x="8954277" y="2338964"/>
            <a:ext cx="2992009" cy="1446550"/>
          </a:xfrm>
          <a:prstGeom prst="rect">
            <a:avLst/>
          </a:prstGeom>
          <a:noFill/>
        </p:spPr>
        <p:txBody>
          <a:bodyPr wrap="square">
            <a:spAutoFit/>
          </a:bodyPr>
          <a:lstStyle/>
          <a:p>
            <a:r>
              <a:rPr lang="en-US" sz="4000" b="1" dirty="0"/>
              <a:t>Lynn Stevens</a:t>
            </a:r>
          </a:p>
          <a:p>
            <a:r>
              <a:rPr lang="en-US" sz="2400" dirty="0"/>
              <a:t>University of </a:t>
            </a:r>
            <a:br>
              <a:rPr lang="en-US" sz="2400" dirty="0"/>
            </a:br>
            <a:r>
              <a:rPr lang="en-US" sz="2400" dirty="0"/>
              <a:t>Texas at Austin</a:t>
            </a:r>
          </a:p>
        </p:txBody>
      </p:sp>
      <p:pic>
        <p:nvPicPr>
          <p:cNvPr id="12" name="Picture 11" descr="A person wearing glasses and blue shirt&#10;&#10;Description automatically generated">
            <a:extLst>
              <a:ext uri="{FF2B5EF4-FFF2-40B4-BE49-F238E27FC236}">
                <a16:creationId xmlns:a16="http://schemas.microsoft.com/office/drawing/2014/main" id="{3525EE4D-173A-EF09-E791-FD90B7739B32}"/>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46794" y="2421083"/>
            <a:ext cx="2506408" cy="2506408"/>
          </a:xfrm>
          <a:prstGeom prst="rect">
            <a:avLst/>
          </a:prstGeom>
        </p:spPr>
      </p:pic>
      <p:pic>
        <p:nvPicPr>
          <p:cNvPr id="13" name="Picture 12" descr="A person smiling at camera&#10;&#10;Description automatically generated">
            <a:extLst>
              <a:ext uri="{FF2B5EF4-FFF2-40B4-BE49-F238E27FC236}">
                <a16:creationId xmlns:a16="http://schemas.microsoft.com/office/drawing/2014/main" id="{951D8B2A-C667-2476-58E1-375CDA8EFB13}"/>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5913121" y="2421083"/>
            <a:ext cx="2919236" cy="2543543"/>
          </a:xfrm>
          <a:prstGeom prst="rect">
            <a:avLst/>
          </a:prstGeom>
        </p:spPr>
      </p:pic>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1"/>
            </p:custDataLst>
          </p:nvPr>
        </p:nvGraphicFramePr>
        <p:xfrm>
          <a:off x="3177" y="1589"/>
          <a:ext cx="1587"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9" name="Object 8" hidden="1"/>
                      <p:cNvPicPr/>
                      <p:nvPr/>
                    </p:nvPicPr>
                    <p:blipFill>
                      <a:blip r:embed="rId4"/>
                      <a:stretch>
                        <a:fillRect/>
                      </a:stretch>
                    </p:blipFill>
                    <p:spPr>
                      <a:xfrm>
                        <a:off x="3177" y="1589"/>
                        <a:ext cx="1587" cy="1587"/>
                      </a:xfrm>
                      <a:prstGeom prst="rect">
                        <a:avLst/>
                      </a:prstGeom>
                    </p:spPr>
                  </p:pic>
                </p:oleObj>
              </mc:Fallback>
            </mc:AlternateContent>
          </a:graphicData>
        </a:graphic>
      </p:graphicFrame>
      <p:sp>
        <p:nvSpPr>
          <p:cNvPr id="7" name="Title 6"/>
          <p:cNvSpPr>
            <a:spLocks noGrp="1"/>
          </p:cNvSpPr>
          <p:nvPr>
            <p:ph type="title"/>
          </p:nvPr>
        </p:nvSpPr>
        <p:spPr>
          <a:xfrm>
            <a:off x="271724" y="-317330"/>
            <a:ext cx="10515600" cy="1325563"/>
          </a:xfrm>
        </p:spPr>
        <p:txBody>
          <a:bodyPr>
            <a:normAutofit/>
          </a:bodyPr>
          <a:lstStyle/>
          <a:p>
            <a:r>
              <a:rPr lang="en-US" dirty="0"/>
              <a:t>IAB Mission &amp; Officers 2024</a:t>
            </a:r>
          </a:p>
        </p:txBody>
      </p:sp>
      <p:sp>
        <p:nvSpPr>
          <p:cNvPr id="4" name="Rectangle 3"/>
          <p:cNvSpPr/>
          <p:nvPr/>
        </p:nvSpPr>
        <p:spPr>
          <a:xfrm>
            <a:off x="874254" y="5924888"/>
            <a:ext cx="9772929" cy="707886"/>
          </a:xfrm>
          <a:prstGeom prst="rect">
            <a:avLst/>
          </a:prstGeom>
        </p:spPr>
        <p:style>
          <a:lnRef idx="2">
            <a:schemeClr val="accent3"/>
          </a:lnRef>
          <a:fillRef idx="1">
            <a:schemeClr val="lt1"/>
          </a:fillRef>
          <a:effectRef idx="0">
            <a:schemeClr val="accent3"/>
          </a:effectRef>
          <a:fontRef idx="minor">
            <a:schemeClr val="dk1"/>
          </a:fontRef>
        </p:style>
        <p:txBody>
          <a:bodyPr wrap="square">
            <a:spAutoFit/>
          </a:bodyPr>
          <a:lstStyle/>
          <a:p>
            <a:r>
              <a:rPr lang="en-US" sz="2000" b="1" dirty="0">
                <a:solidFill>
                  <a:sysClr val="windowText" lastClr="000000"/>
                </a:solidFill>
                <a:ea typeface="Times New Roman" panose="02020603050405020304" pitchFamily="18" charset="0"/>
              </a:rPr>
              <a:t>“Enhance and foster industrial engagement and support to develop </a:t>
            </a:r>
            <a:r>
              <a:rPr lang="en-US" sz="2000" b="1" u="sng" dirty="0">
                <a:solidFill>
                  <a:schemeClr val="accent4">
                    <a:lumMod val="75000"/>
                  </a:schemeClr>
                </a:solidFill>
                <a:ea typeface="Times New Roman" panose="02020603050405020304" pitchFamily="18" charset="0"/>
              </a:rPr>
              <a:t>programming, education, recognition &amp; awards</a:t>
            </a:r>
            <a:r>
              <a:rPr lang="en-US" sz="2000" b="1" dirty="0">
                <a:solidFill>
                  <a:schemeClr val="accent4">
                    <a:lumMod val="75000"/>
                  </a:schemeClr>
                </a:solidFill>
                <a:ea typeface="Times New Roman" panose="02020603050405020304" pitchFamily="18" charset="0"/>
              </a:rPr>
              <a:t> </a:t>
            </a:r>
            <a:r>
              <a:rPr lang="en-US" sz="2000" b="1" dirty="0">
                <a:solidFill>
                  <a:sysClr val="windowText" lastClr="000000"/>
                </a:solidFill>
                <a:ea typeface="Times New Roman" panose="02020603050405020304" pitchFamily="18" charset="0"/>
              </a:rPr>
              <a:t>within the ACS Division of Polymer Chemistry.”</a:t>
            </a:r>
            <a:endParaRPr lang="en-US" sz="2000" dirty="0">
              <a:solidFill>
                <a:sysClr val="windowText" lastClr="000000"/>
              </a:solidFill>
              <a:ea typeface="Times New Roman" panose="02020603050405020304" pitchFamily="18" charset="0"/>
            </a:endParaRPr>
          </a:p>
        </p:txBody>
      </p:sp>
      <p:grpSp>
        <p:nvGrpSpPr>
          <p:cNvPr id="10" name="Group 9">
            <a:extLst>
              <a:ext uri="{FF2B5EF4-FFF2-40B4-BE49-F238E27FC236}">
                <a16:creationId xmlns:a16="http://schemas.microsoft.com/office/drawing/2014/main" id="{50ABFC1A-F6DB-4D0C-8269-B3F8FCFF3206}"/>
              </a:ext>
            </a:extLst>
          </p:cNvPr>
          <p:cNvGrpSpPr/>
          <p:nvPr/>
        </p:nvGrpSpPr>
        <p:grpSpPr>
          <a:xfrm>
            <a:off x="2084344" y="1110111"/>
            <a:ext cx="5113674" cy="4889560"/>
            <a:chOff x="1591108" y="1166854"/>
            <a:chExt cx="5113674" cy="4889560"/>
          </a:xfrm>
        </p:grpSpPr>
        <p:sp>
          <p:nvSpPr>
            <p:cNvPr id="13" name="Rectangle 12"/>
            <p:cNvSpPr/>
            <p:nvPr/>
          </p:nvSpPr>
          <p:spPr>
            <a:xfrm>
              <a:off x="1591108" y="3701923"/>
              <a:ext cx="3440464" cy="2354491"/>
            </a:xfrm>
            <a:prstGeom prst="rect">
              <a:avLst/>
            </a:prstGeom>
          </p:spPr>
          <p:txBody>
            <a:bodyPr wrap="square">
              <a:spAutoFit/>
            </a:bodyPr>
            <a:lstStyle/>
            <a:p>
              <a:pPr marL="285750" indent="-285750">
                <a:buFont typeface="Arial" panose="020B0604020202020204" pitchFamily="34" charset="0"/>
                <a:buChar char="•"/>
              </a:pPr>
              <a:r>
                <a:rPr lang="en-US" sz="2100" dirty="0">
                  <a:solidFill>
                    <a:prstClr val="white"/>
                  </a:solidFill>
                </a:rPr>
                <a:t>Networking</a:t>
              </a:r>
            </a:p>
            <a:p>
              <a:pPr marL="742950" lvl="1" indent="-285750">
                <a:buFont typeface="Arial" panose="020B0604020202020204" pitchFamily="34" charset="0"/>
                <a:buChar char="•"/>
              </a:pPr>
              <a:r>
                <a:rPr lang="en-US" sz="1400" dirty="0">
                  <a:solidFill>
                    <a:prstClr val="white"/>
                  </a:solidFill>
                </a:rPr>
                <a:t>Monday networking hour</a:t>
              </a:r>
            </a:p>
            <a:p>
              <a:pPr marL="742950" lvl="1" indent="-285750">
                <a:buFont typeface="Arial" panose="020B0604020202020204" pitchFamily="34" charset="0"/>
                <a:buChar char="•"/>
              </a:pPr>
              <a:r>
                <a:rPr lang="en-US" sz="1400" dirty="0">
                  <a:solidFill>
                    <a:prstClr val="white"/>
                  </a:solidFill>
                </a:rPr>
                <a:t>Tuesday morning breakfast</a:t>
              </a:r>
            </a:p>
            <a:p>
              <a:pPr marL="285750" indent="-285750">
                <a:buFont typeface="Arial" panose="020B0604020202020204" pitchFamily="34" charset="0"/>
                <a:buChar char="•"/>
              </a:pPr>
              <a:r>
                <a:rPr lang="en-US" sz="2100" dirty="0">
                  <a:solidFill>
                    <a:prstClr val="white"/>
                  </a:solidFill>
                </a:rPr>
                <a:t>Finance &amp; Reporting</a:t>
              </a:r>
            </a:p>
            <a:p>
              <a:pPr marL="742950" lvl="1" indent="-285750">
                <a:buFont typeface="Arial" panose="020B0604020202020204" pitchFamily="34" charset="0"/>
                <a:buChar char="•"/>
              </a:pPr>
              <a:r>
                <a:rPr lang="en-US" sz="1400" dirty="0">
                  <a:solidFill>
                    <a:prstClr val="white"/>
                  </a:solidFill>
                </a:rPr>
                <a:t>IAB business meetings</a:t>
              </a:r>
            </a:p>
            <a:p>
              <a:pPr marL="285750" indent="-285750">
                <a:buFont typeface="Arial" panose="020B0604020202020204" pitchFamily="34" charset="0"/>
                <a:buChar char="•"/>
              </a:pPr>
              <a:r>
                <a:rPr lang="en-US" sz="2100" dirty="0">
                  <a:solidFill>
                    <a:prstClr val="white"/>
                  </a:solidFill>
                </a:rPr>
                <a:t>Bulletin</a:t>
              </a:r>
            </a:p>
            <a:p>
              <a:pPr marL="285750" indent="-285750">
                <a:buFont typeface="Arial" panose="020B0604020202020204" pitchFamily="34" charset="0"/>
                <a:buChar char="•"/>
              </a:pPr>
              <a:r>
                <a:rPr lang="en-US" sz="2100" dirty="0">
                  <a:solidFill>
                    <a:prstClr val="white"/>
                  </a:solidFill>
                </a:rPr>
                <a:t>Succession Planning</a:t>
              </a:r>
            </a:p>
            <a:p>
              <a:pPr marL="285750" indent="-285750">
                <a:buFont typeface="Arial" panose="020B0604020202020204" pitchFamily="34" charset="0"/>
                <a:buChar char="•"/>
              </a:pPr>
              <a:endParaRPr lang="en-US" sz="2100" dirty="0">
                <a:solidFill>
                  <a:prstClr val="white"/>
                </a:solidFill>
              </a:endParaRPr>
            </a:p>
          </p:txBody>
        </p:sp>
        <p:sp>
          <p:nvSpPr>
            <p:cNvPr id="16" name="Rectangle 15"/>
            <p:cNvSpPr/>
            <p:nvPr/>
          </p:nvSpPr>
          <p:spPr>
            <a:xfrm>
              <a:off x="5508621" y="1166854"/>
              <a:ext cx="1196161" cy="415498"/>
            </a:xfrm>
            <a:prstGeom prst="rect">
              <a:avLst/>
            </a:prstGeom>
          </p:spPr>
          <p:txBody>
            <a:bodyPr wrap="none">
              <a:spAutoFit/>
            </a:bodyPr>
            <a:lstStyle/>
            <a:p>
              <a:r>
                <a:rPr lang="en-US" sz="2100" u="sng" dirty="0">
                  <a:solidFill>
                    <a:prstClr val="white"/>
                  </a:solidFill>
                </a:rPr>
                <a:t>Co-Chair</a:t>
              </a:r>
              <a:r>
                <a:rPr lang="en-US" sz="2100" dirty="0">
                  <a:solidFill>
                    <a:prstClr val="white"/>
                  </a:solidFill>
                </a:rPr>
                <a:t>:</a:t>
              </a:r>
            </a:p>
          </p:txBody>
        </p:sp>
      </p:grpSp>
      <p:sp>
        <p:nvSpPr>
          <p:cNvPr id="2" name="Footer Placeholder 1">
            <a:extLst>
              <a:ext uri="{FF2B5EF4-FFF2-40B4-BE49-F238E27FC236}">
                <a16:creationId xmlns:a16="http://schemas.microsoft.com/office/drawing/2014/main" id="{AF260240-6F2E-476C-BF83-73E209010DB7}"/>
              </a:ext>
            </a:extLst>
          </p:cNvPr>
          <p:cNvSpPr>
            <a:spLocks noGrp="1"/>
          </p:cNvSpPr>
          <p:nvPr>
            <p:ph type="ftr" sz="quarter" idx="11"/>
          </p:nvPr>
        </p:nvSpPr>
        <p:spPr/>
        <p:txBody>
          <a:bodyPr/>
          <a:lstStyle/>
          <a:p>
            <a:endParaRPr lang="en-US" dirty="0"/>
          </a:p>
        </p:txBody>
      </p:sp>
      <p:grpSp>
        <p:nvGrpSpPr>
          <p:cNvPr id="18" name="Group 17">
            <a:extLst>
              <a:ext uri="{FF2B5EF4-FFF2-40B4-BE49-F238E27FC236}">
                <a16:creationId xmlns:a16="http://schemas.microsoft.com/office/drawing/2014/main" id="{EE62D437-E4F7-4CD3-8990-C53E31A7AD04}"/>
              </a:ext>
            </a:extLst>
          </p:cNvPr>
          <p:cNvGrpSpPr/>
          <p:nvPr/>
        </p:nvGrpSpPr>
        <p:grpSpPr>
          <a:xfrm>
            <a:off x="1941729" y="902099"/>
            <a:ext cx="8451669" cy="5697736"/>
            <a:chOff x="5128300" y="1045666"/>
            <a:chExt cx="8451669" cy="5697736"/>
          </a:xfrm>
        </p:grpSpPr>
        <p:sp>
          <p:nvSpPr>
            <p:cNvPr id="12" name="Rectangle 11">
              <a:extLst>
                <a:ext uri="{FF2B5EF4-FFF2-40B4-BE49-F238E27FC236}">
                  <a16:creationId xmlns:a16="http://schemas.microsoft.com/office/drawing/2014/main" id="{9B7716E5-300E-4210-BD6C-9B65815ECFCC}"/>
                </a:ext>
              </a:extLst>
            </p:cNvPr>
            <p:cNvSpPr/>
            <p:nvPr/>
          </p:nvSpPr>
          <p:spPr>
            <a:xfrm>
              <a:off x="5128300" y="1045666"/>
              <a:ext cx="2391104" cy="738664"/>
            </a:xfrm>
            <a:prstGeom prst="rect">
              <a:avLst/>
            </a:prstGeom>
          </p:spPr>
          <p:txBody>
            <a:bodyPr wrap="none">
              <a:spAutoFit/>
            </a:bodyPr>
            <a:lstStyle/>
            <a:p>
              <a:r>
                <a:rPr lang="en-US" sz="2100" u="sng" dirty="0">
                  <a:solidFill>
                    <a:prstClr val="white"/>
                  </a:solidFill>
                </a:rPr>
                <a:t>Chair</a:t>
              </a:r>
              <a:r>
                <a:rPr lang="en-US" sz="2100" dirty="0">
                  <a:solidFill>
                    <a:prstClr val="white"/>
                  </a:solidFill>
                </a:rPr>
                <a:t>: Hayley Brown</a:t>
              </a:r>
            </a:p>
            <a:p>
              <a:r>
                <a:rPr lang="en-US" sz="2100" dirty="0">
                  <a:solidFill>
                    <a:prstClr val="white"/>
                  </a:solidFill>
                </a:rPr>
                <a:t>           (Dow)</a:t>
              </a:r>
            </a:p>
          </p:txBody>
        </p:sp>
        <p:pic>
          <p:nvPicPr>
            <p:cNvPr id="8" name="Picture 7" descr="A person wearing glasses&#10;&#10;Description automatically generated with low confidence">
              <a:extLst>
                <a:ext uri="{FF2B5EF4-FFF2-40B4-BE49-F238E27FC236}">
                  <a16:creationId xmlns:a16="http://schemas.microsoft.com/office/drawing/2014/main" id="{2162A677-393C-49C1-B9CD-6A2BDBC13954}"/>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869961" y="1824034"/>
              <a:ext cx="1190843" cy="1786093"/>
            </a:xfrm>
            <a:prstGeom prst="rect">
              <a:avLst/>
            </a:prstGeom>
          </p:spPr>
        </p:pic>
        <p:sp>
          <p:nvSpPr>
            <p:cNvPr id="15" name="Rectangle 14">
              <a:extLst>
                <a:ext uri="{FF2B5EF4-FFF2-40B4-BE49-F238E27FC236}">
                  <a16:creationId xmlns:a16="http://schemas.microsoft.com/office/drawing/2014/main" id="{8886236C-9817-4DCF-9716-A35FC9BDB4E5}"/>
                </a:ext>
              </a:extLst>
            </p:cNvPr>
            <p:cNvSpPr/>
            <p:nvPr/>
          </p:nvSpPr>
          <p:spPr>
            <a:xfrm>
              <a:off x="8889326" y="3788747"/>
              <a:ext cx="4690643" cy="2954655"/>
            </a:xfrm>
            <a:prstGeom prst="rect">
              <a:avLst/>
            </a:prstGeom>
          </p:spPr>
          <p:txBody>
            <a:bodyPr wrap="none">
              <a:spAutoFit/>
            </a:bodyPr>
            <a:lstStyle/>
            <a:p>
              <a:pPr marL="342900" indent="-342900">
                <a:buFont typeface="Arial" panose="020B0604020202020204" pitchFamily="34" charset="0"/>
                <a:buChar char="•"/>
              </a:pPr>
              <a:r>
                <a:rPr lang="en-US" sz="2100" dirty="0">
                  <a:solidFill>
                    <a:prstClr val="white"/>
                  </a:solidFill>
                </a:rPr>
                <a:t>Industrial Awards (IPS &amp; YIPS) Support</a:t>
              </a:r>
            </a:p>
            <a:p>
              <a:pPr marL="342900" indent="-342900">
                <a:buFont typeface="Arial" panose="020B0604020202020204" pitchFamily="34" charset="0"/>
                <a:buChar char="•"/>
              </a:pPr>
              <a:r>
                <a:rPr lang="en-US" sz="2100" dirty="0">
                  <a:solidFill>
                    <a:prstClr val="white"/>
                  </a:solidFill>
                </a:rPr>
                <a:t>New Initiatives</a:t>
              </a:r>
            </a:p>
            <a:p>
              <a:pPr marL="800100" lvl="1" indent="-342900">
                <a:buFont typeface="Arial" panose="020B0604020202020204" pitchFamily="34" charset="0"/>
                <a:buChar char="•"/>
              </a:pPr>
              <a:r>
                <a:rPr lang="en-US" sz="1400" dirty="0">
                  <a:solidFill>
                    <a:prstClr val="white"/>
                  </a:solidFill>
                </a:rPr>
                <a:t>New Industry Networking Group</a:t>
              </a:r>
            </a:p>
            <a:p>
              <a:pPr marL="800100" lvl="1" indent="-342900">
                <a:buFont typeface="Arial" panose="020B0604020202020204" pitchFamily="34" charset="0"/>
                <a:buChar char="•"/>
              </a:pPr>
              <a:r>
                <a:rPr lang="en-US" sz="1400" dirty="0">
                  <a:solidFill>
                    <a:prstClr val="white"/>
                  </a:solidFill>
                </a:rPr>
                <a:t>Regional Meetings</a:t>
              </a:r>
            </a:p>
            <a:p>
              <a:pPr marL="285750" indent="-285750">
                <a:buFont typeface="Arial" panose="020B0604020202020204" pitchFamily="34" charset="0"/>
                <a:buChar char="•"/>
              </a:pPr>
              <a:r>
                <a:rPr lang="en-US" sz="2100" dirty="0">
                  <a:solidFill>
                    <a:prstClr val="white"/>
                  </a:solidFill>
                </a:rPr>
                <a:t>Membership</a:t>
              </a:r>
            </a:p>
            <a:p>
              <a:pPr marL="285750" indent="-285750">
                <a:buFont typeface="Arial" panose="020B0604020202020204" pitchFamily="34" charset="0"/>
                <a:buChar char="•"/>
              </a:pPr>
              <a:r>
                <a:rPr lang="en-US" sz="2100" dirty="0">
                  <a:solidFill>
                    <a:prstClr val="white"/>
                  </a:solidFill>
                </a:rPr>
                <a:t>Programming</a:t>
              </a:r>
            </a:p>
            <a:p>
              <a:pPr marL="742950" lvl="1" indent="-285750">
                <a:buFont typeface="Arial" panose="020B0604020202020204" pitchFamily="34" charset="0"/>
                <a:buChar char="•"/>
              </a:pPr>
              <a:r>
                <a:rPr lang="en-US" sz="1600" dirty="0">
                  <a:solidFill>
                    <a:prstClr val="white"/>
                  </a:solidFill>
                </a:rPr>
                <a:t>IIPS</a:t>
              </a:r>
            </a:p>
            <a:p>
              <a:pPr marL="742950" lvl="1" indent="-285750">
                <a:buFont typeface="Arial" panose="020B0604020202020204" pitchFamily="34" charset="0"/>
                <a:buChar char="•"/>
              </a:pPr>
              <a:r>
                <a:rPr lang="en-US" sz="1600" dirty="0">
                  <a:solidFill>
                    <a:prstClr val="white"/>
                  </a:solidFill>
                </a:rPr>
                <a:t>Other industrial programming</a:t>
              </a:r>
            </a:p>
            <a:p>
              <a:pPr marL="285750" indent="-285750">
                <a:buFont typeface="Arial" panose="020B0604020202020204" pitchFamily="34" charset="0"/>
                <a:buChar char="•"/>
              </a:pPr>
              <a:endParaRPr lang="en-US" sz="2100" dirty="0">
                <a:solidFill>
                  <a:prstClr val="white"/>
                </a:solidFill>
              </a:endParaRPr>
            </a:p>
            <a:p>
              <a:pPr marL="285750" indent="-285750">
                <a:buFont typeface="Arial" panose="020B0604020202020204" pitchFamily="34" charset="0"/>
                <a:buChar char="•"/>
              </a:pPr>
              <a:endParaRPr lang="en-US" sz="2100" dirty="0">
                <a:solidFill>
                  <a:prstClr val="white"/>
                </a:solidFill>
              </a:endParaRPr>
            </a:p>
          </p:txBody>
        </p:sp>
      </p:grpSp>
      <p:pic>
        <p:nvPicPr>
          <p:cNvPr id="3" name="Picture 2" descr="A person standing in front of a body of water&#10;&#10;Description automatically generated with medium confidence">
            <a:extLst>
              <a:ext uri="{FF2B5EF4-FFF2-40B4-BE49-F238E27FC236}">
                <a16:creationId xmlns:a16="http://schemas.microsoft.com/office/drawing/2014/main" id="{C8DA24DB-391C-A414-46A9-EE1DC0868282}"/>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557094" y="1606273"/>
            <a:ext cx="2005968" cy="2005968"/>
          </a:xfrm>
          <a:prstGeom prst="rect">
            <a:avLst/>
          </a:prstGeom>
        </p:spPr>
      </p:pic>
    </p:spTree>
    <p:extLst>
      <p:ext uri="{BB962C8B-B14F-4D97-AF65-F5344CB8AC3E}">
        <p14:creationId xmlns:p14="http://schemas.microsoft.com/office/powerpoint/2010/main" val="194246674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23" name="Rectangle 8">
            <a:extLst>
              <a:ext uri="{FF2B5EF4-FFF2-40B4-BE49-F238E27FC236}">
                <a16:creationId xmlns:a16="http://schemas.microsoft.com/office/drawing/2014/main" id="{18873D23-2DCF-4B31-A009-95721C06E8E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1"/>
            <a:ext cx="12191695"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Rectangle 10">
            <a:extLst>
              <a:ext uri="{FF2B5EF4-FFF2-40B4-BE49-F238E27FC236}">
                <a16:creationId xmlns:a16="http://schemas.microsoft.com/office/drawing/2014/main" id="{C13EF075-D4EF-4929-ADBC-91B27DA1995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05" y="0"/>
            <a:ext cx="12191695"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a:p>
        </p:txBody>
      </p:sp>
      <p:grpSp>
        <p:nvGrpSpPr>
          <p:cNvPr id="25" name="Group 12">
            <a:extLst>
              <a:ext uri="{FF2B5EF4-FFF2-40B4-BE49-F238E27FC236}">
                <a16:creationId xmlns:a16="http://schemas.microsoft.com/office/drawing/2014/main" id="{DAA26DFA-AAB2-4973-9C17-16D587C7B198}"/>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a:off x="-21863" y="508838"/>
            <a:ext cx="5217958" cy="6239661"/>
            <a:chOff x="-19221" y="251144"/>
            <a:chExt cx="5217958" cy="6239661"/>
          </a:xfrm>
        </p:grpSpPr>
        <p:sp>
          <p:nvSpPr>
            <p:cNvPr id="14" name="Freeform: Shape 13">
              <a:extLst>
                <a:ext uri="{FF2B5EF4-FFF2-40B4-BE49-F238E27FC236}">
                  <a16:creationId xmlns:a16="http://schemas.microsoft.com/office/drawing/2014/main" id="{3F407F11-7321-4BF6-8536-CCE8E342454B}"/>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19221" y="251144"/>
              <a:ext cx="5187198" cy="6239661"/>
            </a:xfrm>
            <a:custGeom>
              <a:avLst/>
              <a:gdLst>
                <a:gd name="connsiteX0" fmla="*/ 2011811 w 5187198"/>
                <a:gd name="connsiteY0" fmla="*/ 4 h 6239661"/>
                <a:gd name="connsiteX1" fmla="*/ 2617011 w 5187198"/>
                <a:gd name="connsiteY1" fmla="*/ 70590 h 6239661"/>
                <a:gd name="connsiteX2" fmla="*/ 2690321 w 5187198"/>
                <a:gd name="connsiteY2" fmla="*/ 88146 h 6239661"/>
                <a:gd name="connsiteX3" fmla="*/ 2726863 w 5187198"/>
                <a:gd name="connsiteY3" fmla="*/ 97127 h 6239661"/>
                <a:gd name="connsiteX4" fmla="*/ 2762951 w 5187198"/>
                <a:gd name="connsiteY4" fmla="*/ 107375 h 6239661"/>
                <a:gd name="connsiteX5" fmla="*/ 2834843 w 5187198"/>
                <a:gd name="connsiteY5" fmla="*/ 128493 h 6239661"/>
                <a:gd name="connsiteX6" fmla="*/ 2906574 w 5187198"/>
                <a:gd name="connsiteY6" fmla="*/ 151076 h 6239661"/>
                <a:gd name="connsiteX7" fmla="*/ 3049504 w 5187198"/>
                <a:gd name="connsiteY7" fmla="*/ 202124 h 6239661"/>
                <a:gd name="connsiteX8" fmla="*/ 3189518 w 5187198"/>
                <a:gd name="connsiteY8" fmla="*/ 260159 h 6239661"/>
                <a:gd name="connsiteX9" fmla="*/ 3326048 w 5187198"/>
                <a:gd name="connsiteY9" fmla="*/ 325143 h 6239661"/>
                <a:gd name="connsiteX10" fmla="*/ 3459166 w 5187198"/>
                <a:gd name="connsiteY10" fmla="*/ 395936 h 6239661"/>
                <a:gd name="connsiteX11" fmla="*/ 3588578 w 5187198"/>
                <a:gd name="connsiteY11" fmla="*/ 472343 h 6239661"/>
                <a:gd name="connsiteX12" fmla="*/ 3651864 w 5187198"/>
                <a:gd name="connsiteY12" fmla="*/ 512600 h 6239661"/>
                <a:gd name="connsiteX13" fmla="*/ 3714514 w 5187198"/>
                <a:gd name="connsiteY13" fmla="*/ 553499 h 6239661"/>
                <a:gd name="connsiteX14" fmla="*/ 4181221 w 5187198"/>
                <a:gd name="connsiteY14" fmla="*/ 922912 h 6239661"/>
                <a:gd name="connsiteX15" fmla="*/ 4582963 w 5187198"/>
                <a:gd name="connsiteY15" fmla="*/ 1358264 h 6239661"/>
                <a:gd name="connsiteX16" fmla="*/ 4670721 w 5187198"/>
                <a:gd name="connsiteY16" fmla="*/ 1477644 h 6239661"/>
                <a:gd name="connsiteX17" fmla="*/ 4752378 w 5187198"/>
                <a:gd name="connsiteY17" fmla="*/ 1601187 h 6239661"/>
                <a:gd name="connsiteX18" fmla="*/ 4772168 w 5187198"/>
                <a:gd name="connsiteY18" fmla="*/ 1632456 h 6239661"/>
                <a:gd name="connsiteX19" fmla="*/ 4782117 w 5187198"/>
                <a:gd name="connsiteY19" fmla="*/ 1648104 h 6239661"/>
                <a:gd name="connsiteX20" fmla="*/ 4791381 w 5187198"/>
                <a:gd name="connsiteY20" fmla="*/ 1664150 h 6239661"/>
                <a:gd name="connsiteX21" fmla="*/ 4828190 w 5187198"/>
                <a:gd name="connsiteY21" fmla="*/ 1728379 h 6239661"/>
                <a:gd name="connsiteX22" fmla="*/ 4864832 w 5187198"/>
                <a:gd name="connsiteY22" fmla="*/ 1792796 h 6239661"/>
                <a:gd name="connsiteX23" fmla="*/ 4899201 w 5187198"/>
                <a:gd name="connsiteY23" fmla="*/ 1858342 h 6239661"/>
                <a:gd name="connsiteX24" fmla="*/ 4933266 w 5187198"/>
                <a:gd name="connsiteY24" fmla="*/ 1924155 h 6239661"/>
                <a:gd name="connsiteX25" fmla="*/ 4964403 w 5187198"/>
                <a:gd name="connsiteY25" fmla="*/ 1991384 h 6239661"/>
                <a:gd name="connsiteX26" fmla="*/ 4995019 w 5187198"/>
                <a:gd name="connsiteY26" fmla="*/ 2058823 h 6239661"/>
                <a:gd name="connsiteX27" fmla="*/ 5021999 w 5187198"/>
                <a:gd name="connsiteY27" fmla="*/ 2127723 h 6239661"/>
                <a:gd name="connsiteX28" fmla="*/ 5048321 w 5187198"/>
                <a:gd name="connsiteY28" fmla="*/ 2196908 h 6239661"/>
                <a:gd name="connsiteX29" fmla="*/ 5070546 w 5187198"/>
                <a:gd name="connsiteY29" fmla="*/ 2267547 h 6239661"/>
                <a:gd name="connsiteX30" fmla="*/ 5092171 w 5187198"/>
                <a:gd name="connsiteY30" fmla="*/ 2338256 h 6239661"/>
                <a:gd name="connsiteX31" fmla="*/ 5110305 w 5187198"/>
                <a:gd name="connsiteY31" fmla="*/ 2409886 h 6239661"/>
                <a:gd name="connsiteX32" fmla="*/ 5186393 w 5187198"/>
                <a:gd name="connsiteY32" fmla="*/ 2992022 h 6239661"/>
                <a:gd name="connsiteX33" fmla="*/ 5149045 w 5187198"/>
                <a:gd name="connsiteY33" fmla="*/ 3571816 h 6239661"/>
                <a:gd name="connsiteX34" fmla="*/ 5126572 w 5187198"/>
                <a:gd name="connsiteY34" fmla="*/ 3714520 h 6239661"/>
                <a:gd name="connsiteX35" fmla="*/ 5099067 w 5187198"/>
                <a:gd name="connsiteY35" fmla="*/ 3856108 h 6239661"/>
                <a:gd name="connsiteX36" fmla="*/ 5095699 w 5187198"/>
                <a:gd name="connsiteY36" fmla="*/ 3873868 h 6239661"/>
                <a:gd name="connsiteX37" fmla="*/ 5091573 w 5187198"/>
                <a:gd name="connsiteY37" fmla="*/ 3891426 h 6239661"/>
                <a:gd name="connsiteX38" fmla="*/ 5083324 w 5187198"/>
                <a:gd name="connsiteY38" fmla="*/ 3926541 h 6239661"/>
                <a:gd name="connsiteX39" fmla="*/ 5067256 w 5187198"/>
                <a:gd name="connsiteY39" fmla="*/ 3996889 h 6239661"/>
                <a:gd name="connsiteX40" fmla="*/ 5059194 w 5187198"/>
                <a:gd name="connsiteY40" fmla="*/ 4032171 h 6239661"/>
                <a:gd name="connsiteX41" fmla="*/ 5049522 w 5187198"/>
                <a:gd name="connsiteY41" fmla="*/ 4067833 h 6239661"/>
                <a:gd name="connsiteX42" fmla="*/ 5040067 w 5187198"/>
                <a:gd name="connsiteY42" fmla="*/ 4103553 h 6239661"/>
                <a:gd name="connsiteX43" fmla="*/ 5028960 w 5187198"/>
                <a:gd name="connsiteY43" fmla="*/ 4138946 h 6239661"/>
                <a:gd name="connsiteX44" fmla="*/ 4917351 w 5187198"/>
                <a:gd name="connsiteY44" fmla="*/ 4417041 h 6239661"/>
                <a:gd name="connsiteX45" fmla="*/ 4756163 w 5187198"/>
                <a:gd name="connsiteY45" fmla="*/ 4676402 h 6239661"/>
                <a:gd name="connsiteX46" fmla="*/ 4322493 w 5187198"/>
                <a:gd name="connsiteY46" fmla="*/ 5105604 h 6239661"/>
                <a:gd name="connsiteX47" fmla="*/ 3840510 w 5187198"/>
                <a:gd name="connsiteY47" fmla="*/ 5429590 h 6239661"/>
                <a:gd name="connsiteX48" fmla="*/ 3606447 w 5187198"/>
                <a:gd name="connsiteY48" fmla="*/ 5572862 h 6239661"/>
                <a:gd name="connsiteX49" fmla="*/ 3488814 w 5187198"/>
                <a:gd name="connsiteY49" fmla="*/ 5647178 h 6239661"/>
                <a:gd name="connsiteX50" fmla="*/ 3365864 w 5187198"/>
                <a:gd name="connsiteY50" fmla="*/ 5722735 h 6239661"/>
                <a:gd name="connsiteX51" fmla="*/ 2839486 w 5187198"/>
                <a:gd name="connsiteY51" fmla="*/ 5999120 h 6239661"/>
                <a:gd name="connsiteX52" fmla="*/ 2242423 w 5187198"/>
                <a:gd name="connsiteY52" fmla="*/ 6192346 h 6239661"/>
                <a:gd name="connsiteX53" fmla="*/ 1589380 w 5187198"/>
                <a:gd name="connsiteY53" fmla="*/ 6230657 h 6239661"/>
                <a:gd name="connsiteX54" fmla="*/ 1548244 w 5187198"/>
                <a:gd name="connsiteY54" fmla="*/ 6226706 h 6239661"/>
                <a:gd name="connsiteX55" fmla="*/ 1507348 w 5187198"/>
                <a:gd name="connsiteY55" fmla="*/ 6221428 h 6239661"/>
                <a:gd name="connsiteX56" fmla="*/ 1466401 w 5187198"/>
                <a:gd name="connsiteY56" fmla="*/ 6215904 h 6239661"/>
                <a:gd name="connsiteX57" fmla="*/ 1425773 w 5187198"/>
                <a:gd name="connsiteY57" fmla="*/ 6209191 h 6239661"/>
                <a:gd name="connsiteX58" fmla="*/ 1344960 w 5187198"/>
                <a:gd name="connsiteY58" fmla="*/ 6193681 h 6239661"/>
                <a:gd name="connsiteX59" fmla="*/ 1265007 w 5187198"/>
                <a:gd name="connsiteY59" fmla="*/ 6175388 h 6239661"/>
                <a:gd name="connsiteX60" fmla="*/ 1225415 w 5187198"/>
                <a:gd name="connsiteY60" fmla="*/ 6165243 h 6239661"/>
                <a:gd name="connsiteX61" fmla="*/ 1186567 w 5187198"/>
                <a:gd name="connsiteY61" fmla="*/ 6154486 h 6239661"/>
                <a:gd name="connsiteX62" fmla="*/ 1111158 w 5187198"/>
                <a:gd name="connsiteY62" fmla="*/ 6130918 h 6239661"/>
                <a:gd name="connsiteX63" fmla="*/ 1035915 w 5187198"/>
                <a:gd name="connsiteY63" fmla="*/ 6107163 h 6239661"/>
                <a:gd name="connsiteX64" fmla="*/ 961579 w 5187198"/>
                <a:gd name="connsiteY64" fmla="*/ 6079594 h 6239661"/>
                <a:gd name="connsiteX65" fmla="*/ 395297 w 5187198"/>
                <a:gd name="connsiteY65" fmla="*/ 5792812 h 6239661"/>
                <a:gd name="connsiteX66" fmla="*/ 265239 w 5187198"/>
                <a:gd name="connsiteY66" fmla="*/ 5701511 h 6239661"/>
                <a:gd name="connsiteX67" fmla="*/ 233756 w 5187198"/>
                <a:gd name="connsiteY67" fmla="*/ 5677542 h 6239661"/>
                <a:gd name="connsiteX68" fmla="*/ 202800 w 5187198"/>
                <a:gd name="connsiteY68" fmla="*/ 5652902 h 6239661"/>
                <a:gd name="connsiteX69" fmla="*/ 140918 w 5187198"/>
                <a:gd name="connsiteY69" fmla="*/ 5603515 h 6239661"/>
                <a:gd name="connsiteX70" fmla="*/ 110625 w 5187198"/>
                <a:gd name="connsiteY70" fmla="*/ 5578127 h 6239661"/>
                <a:gd name="connsiteX71" fmla="*/ 95631 w 5187198"/>
                <a:gd name="connsiteY71" fmla="*/ 5565299 h 6239661"/>
                <a:gd name="connsiteX72" fmla="*/ 81966 w 5187198"/>
                <a:gd name="connsiteY72" fmla="*/ 5550973 h 6239661"/>
                <a:gd name="connsiteX73" fmla="*/ 27991 w 5187198"/>
                <a:gd name="connsiteY73" fmla="*/ 5493272 h 6239661"/>
                <a:gd name="connsiteX74" fmla="*/ 1454 w 5187198"/>
                <a:gd name="connsiteY74" fmla="*/ 5464252 h 6239661"/>
                <a:gd name="connsiteX75" fmla="*/ 0 w 5187198"/>
                <a:gd name="connsiteY75" fmla="*/ 5462518 h 6239661"/>
                <a:gd name="connsiteX76" fmla="*/ 0 w 5187198"/>
                <a:gd name="connsiteY76" fmla="*/ 4720187 h 6239661"/>
                <a:gd name="connsiteX77" fmla="*/ 109684 w 5187198"/>
                <a:gd name="connsiteY77" fmla="*/ 4836724 h 6239661"/>
                <a:gd name="connsiteX78" fmla="*/ 306959 w 5187198"/>
                <a:gd name="connsiteY78" fmla="*/ 5007200 h 6239661"/>
                <a:gd name="connsiteX79" fmla="*/ 358101 w 5187198"/>
                <a:gd name="connsiteY79" fmla="*/ 5046057 h 6239661"/>
                <a:gd name="connsiteX80" fmla="*/ 383328 w 5187198"/>
                <a:gd name="connsiteY80" fmla="*/ 5065684 h 6239661"/>
                <a:gd name="connsiteX81" fmla="*/ 409503 w 5187198"/>
                <a:gd name="connsiteY81" fmla="*/ 5083942 h 6239661"/>
                <a:gd name="connsiteX82" fmla="*/ 461889 w 5187198"/>
                <a:gd name="connsiteY82" fmla="*/ 5119888 h 6239661"/>
                <a:gd name="connsiteX83" fmla="*/ 474883 w 5187198"/>
                <a:gd name="connsiteY83" fmla="*/ 5128933 h 6239661"/>
                <a:gd name="connsiteX84" fmla="*/ 486410 w 5187198"/>
                <a:gd name="connsiteY84" fmla="*/ 5139557 h 6239661"/>
                <a:gd name="connsiteX85" fmla="*/ 510852 w 5187198"/>
                <a:gd name="connsiteY85" fmla="*/ 5159089 h 6239661"/>
                <a:gd name="connsiteX86" fmla="*/ 560653 w 5187198"/>
                <a:gd name="connsiteY86" fmla="*/ 5196893 h 6239661"/>
                <a:gd name="connsiteX87" fmla="*/ 585485 w 5187198"/>
                <a:gd name="connsiteY87" fmla="*/ 5215834 h 6239661"/>
                <a:gd name="connsiteX88" fmla="*/ 610707 w 5187198"/>
                <a:gd name="connsiteY88" fmla="*/ 5234185 h 6239661"/>
                <a:gd name="connsiteX89" fmla="*/ 714768 w 5187198"/>
                <a:gd name="connsiteY89" fmla="*/ 5303103 h 6239661"/>
                <a:gd name="connsiteX90" fmla="*/ 1166634 w 5187198"/>
                <a:gd name="connsiteY90" fmla="*/ 5513322 h 6239661"/>
                <a:gd name="connsiteX91" fmla="*/ 1225991 w 5187198"/>
                <a:gd name="connsiteY91" fmla="*/ 5533632 h 6239661"/>
                <a:gd name="connsiteX92" fmla="*/ 1286680 w 5187198"/>
                <a:gd name="connsiteY92" fmla="*/ 5550705 h 6239661"/>
                <a:gd name="connsiteX93" fmla="*/ 1347310 w 5187198"/>
                <a:gd name="connsiteY93" fmla="*/ 5567995 h 6239661"/>
                <a:gd name="connsiteX94" fmla="*/ 1377002 w 5187198"/>
                <a:gd name="connsiteY94" fmla="*/ 5575719 h 6239661"/>
                <a:gd name="connsiteX95" fmla="*/ 1406328 w 5187198"/>
                <a:gd name="connsiteY95" fmla="*/ 5582649 h 6239661"/>
                <a:gd name="connsiteX96" fmla="*/ 1465060 w 5187198"/>
                <a:gd name="connsiteY96" fmla="*/ 5594909 h 6239661"/>
                <a:gd name="connsiteX97" fmla="*/ 1523881 w 5187198"/>
                <a:gd name="connsiteY97" fmla="*/ 5605105 h 6239661"/>
                <a:gd name="connsiteX98" fmla="*/ 1553325 w 5187198"/>
                <a:gd name="connsiteY98" fmla="*/ 5609865 h 6239661"/>
                <a:gd name="connsiteX99" fmla="*/ 1582813 w 5187198"/>
                <a:gd name="connsiteY99" fmla="*/ 5613593 h 6239661"/>
                <a:gd name="connsiteX100" fmla="*/ 1612301 w 5187198"/>
                <a:gd name="connsiteY100" fmla="*/ 5617321 h 6239661"/>
                <a:gd name="connsiteX101" fmla="*/ 1641863 w 5187198"/>
                <a:gd name="connsiteY101" fmla="*/ 5619910 h 6239661"/>
                <a:gd name="connsiteX102" fmla="*/ 2117508 w 5187198"/>
                <a:gd name="connsiteY102" fmla="*/ 5595156 h 6239661"/>
                <a:gd name="connsiteX103" fmla="*/ 2597368 w 5187198"/>
                <a:gd name="connsiteY103" fmla="*/ 5447381 h 6239661"/>
                <a:gd name="connsiteX104" fmla="*/ 3082968 w 5187198"/>
                <a:gd name="connsiteY104" fmla="*/ 5223245 h 6239661"/>
                <a:gd name="connsiteX105" fmla="*/ 3334855 w 5187198"/>
                <a:gd name="connsiteY105" fmla="*/ 5097383 h 6239661"/>
                <a:gd name="connsiteX106" fmla="*/ 3599509 w 5187198"/>
                <a:gd name="connsiteY106" fmla="*/ 4976217 h 6239661"/>
                <a:gd name="connsiteX107" fmla="*/ 4112002 w 5187198"/>
                <a:gd name="connsiteY107" fmla="*/ 4766359 h 6239661"/>
                <a:gd name="connsiteX108" fmla="*/ 4348983 w 5187198"/>
                <a:gd name="connsiteY108" fmla="*/ 4649833 h 6239661"/>
                <a:gd name="connsiteX109" fmla="*/ 4560505 w 5187198"/>
                <a:gd name="connsiteY109" fmla="*/ 4501564 h 6239661"/>
                <a:gd name="connsiteX110" fmla="*/ 4731963 w 5187198"/>
                <a:gd name="connsiteY110" fmla="*/ 4309870 h 6239661"/>
                <a:gd name="connsiteX111" fmla="*/ 4852344 w 5187198"/>
                <a:gd name="connsiteY111" fmla="*/ 4078640 h 6239661"/>
                <a:gd name="connsiteX112" fmla="*/ 4863972 w 5187198"/>
                <a:gd name="connsiteY112" fmla="*/ 4047790 h 6239661"/>
                <a:gd name="connsiteX113" fmla="*/ 4874144 w 5187198"/>
                <a:gd name="connsiteY113" fmla="*/ 4016320 h 6239661"/>
                <a:gd name="connsiteX114" fmla="*/ 4884127 w 5187198"/>
                <a:gd name="connsiteY114" fmla="*/ 3984682 h 6239661"/>
                <a:gd name="connsiteX115" fmla="*/ 4892800 w 5187198"/>
                <a:gd name="connsiteY115" fmla="*/ 3951883 h 6239661"/>
                <a:gd name="connsiteX116" fmla="*/ 4909526 w 5187198"/>
                <a:gd name="connsiteY116" fmla="*/ 3886001 h 6239661"/>
                <a:gd name="connsiteX117" fmla="*/ 4917687 w 5187198"/>
                <a:gd name="connsiteY117" fmla="*/ 3852948 h 6239661"/>
                <a:gd name="connsiteX118" fmla="*/ 4921768 w 5187198"/>
                <a:gd name="connsiteY118" fmla="*/ 3836422 h 6239661"/>
                <a:gd name="connsiteX119" fmla="*/ 4924845 w 5187198"/>
                <a:gd name="connsiteY119" fmla="*/ 3819742 h 6239661"/>
                <a:gd name="connsiteX120" fmla="*/ 4948230 w 5187198"/>
                <a:gd name="connsiteY120" fmla="*/ 3685744 h 6239661"/>
                <a:gd name="connsiteX121" fmla="*/ 4962782 w 5187198"/>
                <a:gd name="connsiteY121" fmla="*/ 3550540 h 6239661"/>
                <a:gd name="connsiteX122" fmla="*/ 4939468 w 5187198"/>
                <a:gd name="connsiteY122" fmla="*/ 3010249 h 6239661"/>
                <a:gd name="connsiteX123" fmla="*/ 4816901 w 5187198"/>
                <a:gd name="connsiteY123" fmla="*/ 2488224 h 6239661"/>
                <a:gd name="connsiteX124" fmla="*/ 4797005 w 5187198"/>
                <a:gd name="connsiteY124" fmla="*/ 2424470 h 6239661"/>
                <a:gd name="connsiteX125" fmla="*/ 4774433 w 5187198"/>
                <a:gd name="connsiteY125" fmla="*/ 2361620 h 6239661"/>
                <a:gd name="connsiteX126" fmla="*/ 4752459 w 5187198"/>
                <a:gd name="connsiteY126" fmla="*/ 2298700 h 6239661"/>
                <a:gd name="connsiteX127" fmla="*/ 4728083 w 5187198"/>
                <a:gd name="connsiteY127" fmla="*/ 2236526 h 6239661"/>
                <a:gd name="connsiteX128" fmla="*/ 4704471 w 5187198"/>
                <a:gd name="connsiteY128" fmla="*/ 2174095 h 6239661"/>
                <a:gd name="connsiteX129" fmla="*/ 4678399 w 5187198"/>
                <a:gd name="connsiteY129" fmla="*/ 2112626 h 6239661"/>
                <a:gd name="connsiteX130" fmla="*/ 4652601 w 5187198"/>
                <a:gd name="connsiteY130" fmla="*/ 2050999 h 6239661"/>
                <a:gd name="connsiteX131" fmla="*/ 4624205 w 5187198"/>
                <a:gd name="connsiteY131" fmla="*/ 1990415 h 6239661"/>
                <a:gd name="connsiteX132" fmla="*/ 4595398 w 5187198"/>
                <a:gd name="connsiteY132" fmla="*/ 1930069 h 6239661"/>
                <a:gd name="connsiteX133" fmla="*/ 4563827 w 5187198"/>
                <a:gd name="connsiteY133" fmla="*/ 1870952 h 6239661"/>
                <a:gd name="connsiteX134" fmla="*/ 4531433 w 5187198"/>
                <a:gd name="connsiteY134" fmla="*/ 1812311 h 6239661"/>
                <a:gd name="connsiteX135" fmla="*/ 4523315 w 5187198"/>
                <a:gd name="connsiteY135" fmla="*/ 1797616 h 6239661"/>
                <a:gd name="connsiteX136" fmla="*/ 4514482 w 5187198"/>
                <a:gd name="connsiteY136" fmla="*/ 1783425 h 6239661"/>
                <a:gd name="connsiteX137" fmla="*/ 4496845 w 5187198"/>
                <a:gd name="connsiteY137" fmla="*/ 1754936 h 6239661"/>
                <a:gd name="connsiteX138" fmla="*/ 4461463 w 5187198"/>
                <a:gd name="connsiteY138" fmla="*/ 1697929 h 6239661"/>
                <a:gd name="connsiteX139" fmla="*/ 4452660 w 5187198"/>
                <a:gd name="connsiteY139" fmla="*/ 1683629 h 6239661"/>
                <a:gd name="connsiteX140" fmla="*/ 4443141 w 5187198"/>
                <a:gd name="connsiteY140" fmla="*/ 1669834 h 6239661"/>
                <a:gd name="connsiteX141" fmla="*/ 4424241 w 5187198"/>
                <a:gd name="connsiteY141" fmla="*/ 1642166 h 6239661"/>
                <a:gd name="connsiteX142" fmla="*/ 4346886 w 5187198"/>
                <a:gd name="connsiteY142" fmla="*/ 1532412 h 6239661"/>
                <a:gd name="connsiteX143" fmla="*/ 3985497 w 5187198"/>
                <a:gd name="connsiteY143" fmla="*/ 1134649 h 6239661"/>
                <a:gd name="connsiteX144" fmla="*/ 3545665 w 5187198"/>
                <a:gd name="connsiteY144" fmla="*/ 825877 h 6239661"/>
                <a:gd name="connsiteX145" fmla="*/ 3486190 w 5187198"/>
                <a:gd name="connsiteY145" fmla="*/ 794756 h 6239661"/>
                <a:gd name="connsiteX146" fmla="*/ 3426182 w 5187198"/>
                <a:gd name="connsiteY146" fmla="*/ 764765 h 6239661"/>
                <a:gd name="connsiteX147" fmla="*/ 3365044 w 5187198"/>
                <a:gd name="connsiteY147" fmla="*/ 737255 h 6239661"/>
                <a:gd name="connsiteX148" fmla="*/ 3334529 w 5187198"/>
                <a:gd name="connsiteY148" fmla="*/ 723514 h 6239661"/>
                <a:gd name="connsiteX149" fmla="*/ 3303733 w 5187198"/>
                <a:gd name="connsiteY149" fmla="*/ 710395 h 6239661"/>
                <a:gd name="connsiteX150" fmla="*/ 3179033 w 5187198"/>
                <a:gd name="connsiteY150" fmla="*/ 662259 h 6239661"/>
                <a:gd name="connsiteX151" fmla="*/ 3052408 w 5187198"/>
                <a:gd name="connsiteY151" fmla="*/ 620447 h 6239661"/>
                <a:gd name="connsiteX152" fmla="*/ 2924325 w 5187198"/>
                <a:gd name="connsiteY152" fmla="*/ 584505 h 6239661"/>
                <a:gd name="connsiteX153" fmla="*/ 2859667 w 5187198"/>
                <a:gd name="connsiteY153" fmla="*/ 569266 h 6239661"/>
                <a:gd name="connsiteX154" fmla="*/ 2795226 w 5187198"/>
                <a:gd name="connsiteY154" fmla="*/ 554085 h 6239661"/>
                <a:gd name="connsiteX155" fmla="*/ 2729702 w 5187198"/>
                <a:gd name="connsiteY155" fmla="*/ 540354 h 6239661"/>
                <a:gd name="connsiteX156" fmla="*/ 2663758 w 5187198"/>
                <a:gd name="connsiteY156" fmla="*/ 527322 h 6239661"/>
                <a:gd name="connsiteX157" fmla="*/ 2630927 w 5187198"/>
                <a:gd name="connsiteY157" fmla="*/ 520495 h 6239661"/>
                <a:gd name="connsiteX158" fmla="*/ 2597965 w 5187198"/>
                <a:gd name="connsiteY158" fmla="*/ 515024 h 6239661"/>
                <a:gd name="connsiteX159" fmla="*/ 2532205 w 5187198"/>
                <a:gd name="connsiteY159" fmla="*/ 503895 h 6239661"/>
                <a:gd name="connsiteX160" fmla="*/ 2010064 w 5187198"/>
                <a:gd name="connsiteY160" fmla="*/ 452552 h 6239661"/>
                <a:gd name="connsiteX161" fmla="*/ 1494552 w 5187198"/>
                <a:gd name="connsiteY161" fmla="*/ 485055 h 6239661"/>
                <a:gd name="connsiteX162" fmla="*/ 1366896 w 5187198"/>
                <a:gd name="connsiteY162" fmla="*/ 509389 h 6239661"/>
                <a:gd name="connsiteX163" fmla="*/ 1240175 w 5187198"/>
                <a:gd name="connsiteY163" fmla="*/ 541045 h 6239661"/>
                <a:gd name="connsiteX164" fmla="*/ 1177438 w 5187198"/>
                <a:gd name="connsiteY164" fmla="*/ 560170 h 6239661"/>
                <a:gd name="connsiteX165" fmla="*/ 1145987 w 5187198"/>
                <a:gd name="connsiteY165" fmla="*/ 569826 h 6239661"/>
                <a:gd name="connsiteX166" fmla="*/ 1130315 w 5187198"/>
                <a:gd name="connsiteY166" fmla="*/ 574669 h 6239661"/>
                <a:gd name="connsiteX167" fmla="*/ 1114873 w 5187198"/>
                <a:gd name="connsiteY167" fmla="*/ 580384 h 6239661"/>
                <a:gd name="connsiteX168" fmla="*/ 1052839 w 5187198"/>
                <a:gd name="connsiteY168" fmla="*/ 602943 h 6239661"/>
                <a:gd name="connsiteX169" fmla="*/ 991135 w 5187198"/>
                <a:gd name="connsiteY169" fmla="*/ 626866 h 6239661"/>
                <a:gd name="connsiteX170" fmla="*/ 930179 w 5187198"/>
                <a:gd name="connsiteY170" fmla="*/ 653191 h 6239661"/>
                <a:gd name="connsiteX171" fmla="*/ 869768 w 5187198"/>
                <a:gd name="connsiteY171" fmla="*/ 680937 h 6239661"/>
                <a:gd name="connsiteX172" fmla="*/ 810085 w 5187198"/>
                <a:gd name="connsiteY172" fmla="*/ 710734 h 6239661"/>
                <a:gd name="connsiteX173" fmla="*/ 751220 w 5187198"/>
                <a:gd name="connsiteY173" fmla="*/ 741794 h 6239661"/>
                <a:gd name="connsiteX174" fmla="*/ 532669 w 5187198"/>
                <a:gd name="connsiteY174" fmla="*/ 881688 h 6239661"/>
                <a:gd name="connsiteX175" fmla="*/ 354185 w 5187198"/>
                <a:gd name="connsiteY175" fmla="*/ 1050286 h 6239661"/>
                <a:gd name="connsiteX176" fmla="*/ 315980 w 5187198"/>
                <a:gd name="connsiteY176" fmla="*/ 1098125 h 6239661"/>
                <a:gd name="connsiteX177" fmla="*/ 280345 w 5187198"/>
                <a:gd name="connsiteY177" fmla="*/ 1149782 h 6239661"/>
                <a:gd name="connsiteX178" fmla="*/ 245890 w 5187198"/>
                <a:gd name="connsiteY178" fmla="*/ 1203959 h 6239661"/>
                <a:gd name="connsiteX179" fmla="*/ 212162 w 5187198"/>
                <a:gd name="connsiteY179" fmla="*/ 1260184 h 6239661"/>
                <a:gd name="connsiteX180" fmla="*/ 80716 w 5187198"/>
                <a:gd name="connsiteY180" fmla="*/ 1502476 h 6239661"/>
                <a:gd name="connsiteX181" fmla="*/ 0 w 5187198"/>
                <a:gd name="connsiteY181" fmla="*/ 1648841 h 6239661"/>
                <a:gd name="connsiteX182" fmla="*/ 0 w 5187198"/>
                <a:gd name="connsiteY182" fmla="*/ 954863 h 6239661"/>
                <a:gd name="connsiteX183" fmla="*/ 43491 w 5187198"/>
                <a:gd name="connsiteY183" fmla="*/ 895513 h 6239661"/>
                <a:gd name="connsiteX184" fmla="*/ 93923 w 5187198"/>
                <a:gd name="connsiteY184" fmla="*/ 834489 h 6239661"/>
                <a:gd name="connsiteX185" fmla="*/ 323465 w 5187198"/>
                <a:gd name="connsiteY185" fmla="*/ 617671 h 6239661"/>
                <a:gd name="connsiteX186" fmla="*/ 574777 w 5187198"/>
                <a:gd name="connsiteY186" fmla="*/ 446794 h 6239661"/>
                <a:gd name="connsiteX187" fmla="*/ 638943 w 5187198"/>
                <a:gd name="connsiteY187" fmla="*/ 408925 h 6239661"/>
                <a:gd name="connsiteX188" fmla="*/ 703505 w 5187198"/>
                <a:gd name="connsiteY188" fmla="*/ 371742 h 6239661"/>
                <a:gd name="connsiteX189" fmla="*/ 769262 w 5187198"/>
                <a:gd name="connsiteY189" fmla="*/ 336154 h 6239661"/>
                <a:gd name="connsiteX190" fmla="*/ 835552 w 5187198"/>
                <a:gd name="connsiteY190" fmla="*/ 301173 h 6239661"/>
                <a:gd name="connsiteX191" fmla="*/ 902979 w 5187198"/>
                <a:gd name="connsiteY191" fmla="*/ 268004 h 6239661"/>
                <a:gd name="connsiteX192" fmla="*/ 971127 w 5187198"/>
                <a:gd name="connsiteY192" fmla="*/ 235607 h 6239661"/>
                <a:gd name="connsiteX193" fmla="*/ 988238 w 5187198"/>
                <a:gd name="connsiteY193" fmla="*/ 227556 h 6239661"/>
                <a:gd name="connsiteX194" fmla="*/ 1005744 w 5187198"/>
                <a:gd name="connsiteY194" fmla="*/ 220191 h 6239661"/>
                <a:gd name="connsiteX195" fmla="*/ 1040729 w 5187198"/>
                <a:gd name="connsiteY195" fmla="*/ 205569 h 6239661"/>
                <a:gd name="connsiteX196" fmla="*/ 1110835 w 5187198"/>
                <a:gd name="connsiteY196" fmla="*/ 176248 h 6239661"/>
                <a:gd name="connsiteX197" fmla="*/ 1254256 w 5187198"/>
                <a:gd name="connsiteY197" fmla="*/ 123796 h 6239661"/>
                <a:gd name="connsiteX198" fmla="*/ 1401310 w 5187198"/>
                <a:gd name="connsiteY198" fmla="*/ 79852 h 6239661"/>
                <a:gd name="connsiteX199" fmla="*/ 2011811 w 5187198"/>
                <a:gd name="connsiteY199" fmla="*/ 4 h 6239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Lst>
              <a:rect l="l" t="t" r="r" b="b"/>
              <a:pathLst>
                <a:path w="5187198" h="6239661">
                  <a:moveTo>
                    <a:pt x="2011811" y="4"/>
                  </a:moveTo>
                  <a:cubicBezTo>
                    <a:pt x="2217306" y="120"/>
                    <a:pt x="2420903" y="25925"/>
                    <a:pt x="2617011" y="70590"/>
                  </a:cubicBezTo>
                  <a:lnTo>
                    <a:pt x="2690321" y="88146"/>
                  </a:lnTo>
                  <a:lnTo>
                    <a:pt x="2726863" y="97127"/>
                  </a:lnTo>
                  <a:lnTo>
                    <a:pt x="2762951" y="107375"/>
                  </a:lnTo>
                  <a:lnTo>
                    <a:pt x="2834843" y="128493"/>
                  </a:lnTo>
                  <a:cubicBezTo>
                    <a:pt x="2858788" y="135605"/>
                    <a:pt x="2882632" y="142226"/>
                    <a:pt x="2906574" y="151076"/>
                  </a:cubicBezTo>
                  <a:cubicBezTo>
                    <a:pt x="2954475" y="167852"/>
                    <a:pt x="3002363" y="183813"/>
                    <a:pt x="3049504" y="202124"/>
                  </a:cubicBezTo>
                  <a:lnTo>
                    <a:pt x="3189518" y="260159"/>
                  </a:lnTo>
                  <a:lnTo>
                    <a:pt x="3326048" y="325143"/>
                  </a:lnTo>
                  <a:cubicBezTo>
                    <a:pt x="3370687" y="348464"/>
                    <a:pt x="3414908" y="372485"/>
                    <a:pt x="3459166" y="395936"/>
                  </a:cubicBezTo>
                  <a:cubicBezTo>
                    <a:pt x="3502947" y="420302"/>
                    <a:pt x="3545491" y="447118"/>
                    <a:pt x="3588578" y="472343"/>
                  </a:cubicBezTo>
                  <a:cubicBezTo>
                    <a:pt x="3610346" y="484551"/>
                    <a:pt x="3630797" y="499072"/>
                    <a:pt x="3651864" y="512600"/>
                  </a:cubicBezTo>
                  <a:lnTo>
                    <a:pt x="3714514" y="553499"/>
                  </a:lnTo>
                  <a:cubicBezTo>
                    <a:pt x="3880005" y="664844"/>
                    <a:pt x="4036083" y="788388"/>
                    <a:pt x="4181221" y="922912"/>
                  </a:cubicBezTo>
                  <a:cubicBezTo>
                    <a:pt x="4326221" y="1057515"/>
                    <a:pt x="4461955" y="1202038"/>
                    <a:pt x="4582963" y="1358264"/>
                  </a:cubicBezTo>
                  <a:cubicBezTo>
                    <a:pt x="4614206" y="1396543"/>
                    <a:pt x="4642091" y="1437400"/>
                    <a:pt x="4670721" y="1477644"/>
                  </a:cubicBezTo>
                  <a:cubicBezTo>
                    <a:pt x="4700172" y="1517414"/>
                    <a:pt x="4725864" y="1559538"/>
                    <a:pt x="4752378" y="1601187"/>
                  </a:cubicBezTo>
                  <a:lnTo>
                    <a:pt x="4772168" y="1632456"/>
                  </a:lnTo>
                  <a:lnTo>
                    <a:pt x="4782117" y="1648104"/>
                  </a:lnTo>
                  <a:lnTo>
                    <a:pt x="4791381" y="1664150"/>
                  </a:lnTo>
                  <a:lnTo>
                    <a:pt x="4828190" y="1728379"/>
                  </a:lnTo>
                  <a:cubicBezTo>
                    <a:pt x="4840266" y="1749930"/>
                    <a:pt x="4853470" y="1770740"/>
                    <a:pt x="4864832" y="1792796"/>
                  </a:cubicBezTo>
                  <a:lnTo>
                    <a:pt x="4899201" y="1858342"/>
                  </a:lnTo>
                  <a:cubicBezTo>
                    <a:pt x="4910484" y="1880260"/>
                    <a:pt x="4922532" y="1901920"/>
                    <a:pt x="4933266" y="1924155"/>
                  </a:cubicBezTo>
                  <a:lnTo>
                    <a:pt x="4964403" y="1991384"/>
                  </a:lnTo>
                  <a:cubicBezTo>
                    <a:pt x="4974618" y="2013829"/>
                    <a:pt x="4985323" y="2036171"/>
                    <a:pt x="4995019" y="2058823"/>
                  </a:cubicBezTo>
                  <a:lnTo>
                    <a:pt x="5021999" y="2127723"/>
                  </a:lnTo>
                  <a:lnTo>
                    <a:pt x="5048321" y="2196908"/>
                  </a:lnTo>
                  <a:lnTo>
                    <a:pt x="5070546" y="2267547"/>
                  </a:lnTo>
                  <a:cubicBezTo>
                    <a:pt x="5078054" y="2291004"/>
                    <a:pt x="5085044" y="2314670"/>
                    <a:pt x="5092171" y="2338256"/>
                  </a:cubicBezTo>
                  <a:cubicBezTo>
                    <a:pt x="5098670" y="2362023"/>
                    <a:pt x="5104296" y="2386019"/>
                    <a:pt x="5110305" y="2409886"/>
                  </a:cubicBezTo>
                  <a:cubicBezTo>
                    <a:pt x="5158097" y="2600976"/>
                    <a:pt x="5182068" y="2797044"/>
                    <a:pt x="5186393" y="2992022"/>
                  </a:cubicBezTo>
                  <a:cubicBezTo>
                    <a:pt x="5191013" y="3187195"/>
                    <a:pt x="5175397" y="3380886"/>
                    <a:pt x="5149045" y="3571816"/>
                  </a:cubicBezTo>
                  <a:cubicBezTo>
                    <a:pt x="5141154" y="3619431"/>
                    <a:pt x="5133539" y="3666889"/>
                    <a:pt x="5126572" y="3714520"/>
                  </a:cubicBezTo>
                  <a:cubicBezTo>
                    <a:pt x="5117276" y="3761759"/>
                    <a:pt x="5107793" y="3808831"/>
                    <a:pt x="5099067" y="3856108"/>
                  </a:cubicBezTo>
                  <a:lnTo>
                    <a:pt x="5095699" y="3873868"/>
                  </a:lnTo>
                  <a:lnTo>
                    <a:pt x="5091573" y="3891426"/>
                  </a:lnTo>
                  <a:lnTo>
                    <a:pt x="5083324" y="3926541"/>
                  </a:lnTo>
                  <a:lnTo>
                    <a:pt x="5067256" y="3996889"/>
                  </a:lnTo>
                  <a:cubicBezTo>
                    <a:pt x="5064451" y="4008657"/>
                    <a:pt x="5062244" y="4020353"/>
                    <a:pt x="5059194" y="4032171"/>
                  </a:cubicBezTo>
                  <a:lnTo>
                    <a:pt x="5049522" y="4067833"/>
                  </a:lnTo>
                  <a:lnTo>
                    <a:pt x="5040067" y="4103553"/>
                  </a:lnTo>
                  <a:cubicBezTo>
                    <a:pt x="5036554" y="4115363"/>
                    <a:pt x="5032689" y="4127194"/>
                    <a:pt x="5028960" y="4138946"/>
                  </a:cubicBezTo>
                  <a:cubicBezTo>
                    <a:pt x="4999693" y="4233462"/>
                    <a:pt x="4962869" y="4326764"/>
                    <a:pt x="4917351" y="4417041"/>
                  </a:cubicBezTo>
                  <a:cubicBezTo>
                    <a:pt x="4871860" y="4507209"/>
                    <a:pt x="4817597" y="4594215"/>
                    <a:pt x="4756163" y="4676402"/>
                  </a:cubicBezTo>
                  <a:cubicBezTo>
                    <a:pt x="4632803" y="4840875"/>
                    <a:pt x="4480597" y="4982783"/>
                    <a:pt x="4322493" y="5105604"/>
                  </a:cubicBezTo>
                  <a:cubicBezTo>
                    <a:pt x="4163928" y="5228420"/>
                    <a:pt x="3999564" y="5332640"/>
                    <a:pt x="3840510" y="5429590"/>
                  </a:cubicBezTo>
                  <a:cubicBezTo>
                    <a:pt x="3760954" y="5478172"/>
                    <a:pt x="3682353" y="5524924"/>
                    <a:pt x="3606447" y="5572862"/>
                  </a:cubicBezTo>
                  <a:lnTo>
                    <a:pt x="3488814" y="5647178"/>
                  </a:lnTo>
                  <a:cubicBezTo>
                    <a:pt x="3448270" y="5672597"/>
                    <a:pt x="3407323" y="5697792"/>
                    <a:pt x="3365864" y="5722735"/>
                  </a:cubicBezTo>
                  <a:cubicBezTo>
                    <a:pt x="3200163" y="5822424"/>
                    <a:pt x="3026125" y="5917328"/>
                    <a:pt x="2839486" y="5999120"/>
                  </a:cubicBezTo>
                  <a:cubicBezTo>
                    <a:pt x="2653201" y="6080891"/>
                    <a:pt x="2453560" y="6149344"/>
                    <a:pt x="2242423" y="6192346"/>
                  </a:cubicBezTo>
                  <a:cubicBezTo>
                    <a:pt x="2031719" y="6235463"/>
                    <a:pt x="1808952" y="6251353"/>
                    <a:pt x="1589380" y="6230657"/>
                  </a:cubicBezTo>
                  <a:lnTo>
                    <a:pt x="1548244" y="6226706"/>
                  </a:lnTo>
                  <a:cubicBezTo>
                    <a:pt x="1534528" y="6225117"/>
                    <a:pt x="1520898" y="6223203"/>
                    <a:pt x="1507348" y="6221428"/>
                  </a:cubicBezTo>
                  <a:lnTo>
                    <a:pt x="1466401" y="6215904"/>
                  </a:lnTo>
                  <a:cubicBezTo>
                    <a:pt x="1452772" y="6213991"/>
                    <a:pt x="1439316" y="6211428"/>
                    <a:pt x="1425773" y="6209191"/>
                  </a:cubicBezTo>
                  <a:cubicBezTo>
                    <a:pt x="1398775" y="6204391"/>
                    <a:pt x="1371610" y="6199779"/>
                    <a:pt x="1344960" y="6193681"/>
                  </a:cubicBezTo>
                  <a:cubicBezTo>
                    <a:pt x="1318251" y="6187799"/>
                    <a:pt x="1291260" y="6182538"/>
                    <a:pt x="1265007" y="6175388"/>
                  </a:cubicBezTo>
                  <a:lnTo>
                    <a:pt x="1225415" y="6165243"/>
                  </a:lnTo>
                  <a:cubicBezTo>
                    <a:pt x="1212163" y="6161924"/>
                    <a:pt x="1198939" y="6158496"/>
                    <a:pt x="1186567" y="6154486"/>
                  </a:cubicBezTo>
                  <a:lnTo>
                    <a:pt x="1111158" y="6130918"/>
                  </a:lnTo>
                  <a:lnTo>
                    <a:pt x="1035915" y="6107163"/>
                  </a:lnTo>
                  <a:cubicBezTo>
                    <a:pt x="1010846" y="6099055"/>
                    <a:pt x="986357" y="6088784"/>
                    <a:pt x="961579" y="6079594"/>
                  </a:cubicBezTo>
                  <a:cubicBezTo>
                    <a:pt x="763709" y="6005594"/>
                    <a:pt x="572401" y="5909703"/>
                    <a:pt x="395297" y="5792812"/>
                  </a:cubicBezTo>
                  <a:lnTo>
                    <a:pt x="265239" y="5701511"/>
                  </a:lnTo>
                  <a:cubicBezTo>
                    <a:pt x="254227" y="5694155"/>
                    <a:pt x="244103" y="5685646"/>
                    <a:pt x="233756" y="5677542"/>
                  </a:cubicBezTo>
                  <a:lnTo>
                    <a:pt x="202800" y="5652902"/>
                  </a:lnTo>
                  <a:lnTo>
                    <a:pt x="140918" y="5603515"/>
                  </a:lnTo>
                  <a:cubicBezTo>
                    <a:pt x="130598" y="5595302"/>
                    <a:pt x="120280" y="5587089"/>
                    <a:pt x="110625" y="5578127"/>
                  </a:cubicBezTo>
                  <a:cubicBezTo>
                    <a:pt x="105647" y="5573779"/>
                    <a:pt x="100444" y="5569834"/>
                    <a:pt x="95631" y="5565299"/>
                  </a:cubicBezTo>
                  <a:cubicBezTo>
                    <a:pt x="90955" y="5560684"/>
                    <a:pt x="86505" y="5555666"/>
                    <a:pt x="81966" y="5550973"/>
                  </a:cubicBezTo>
                  <a:lnTo>
                    <a:pt x="27991" y="5493272"/>
                  </a:lnTo>
                  <a:cubicBezTo>
                    <a:pt x="19109" y="5483589"/>
                    <a:pt x="9758" y="5474359"/>
                    <a:pt x="1454" y="5464252"/>
                  </a:cubicBezTo>
                  <a:lnTo>
                    <a:pt x="0" y="5462518"/>
                  </a:lnTo>
                  <a:lnTo>
                    <a:pt x="0" y="4720187"/>
                  </a:lnTo>
                  <a:lnTo>
                    <a:pt x="109684" y="4836724"/>
                  </a:lnTo>
                  <a:cubicBezTo>
                    <a:pt x="173316" y="4897375"/>
                    <a:pt x="239447" y="4954160"/>
                    <a:pt x="306959" y="5007200"/>
                  </a:cubicBezTo>
                  <a:lnTo>
                    <a:pt x="358101" y="5046057"/>
                  </a:lnTo>
                  <a:lnTo>
                    <a:pt x="383328" y="5065684"/>
                  </a:lnTo>
                  <a:cubicBezTo>
                    <a:pt x="391637" y="5072316"/>
                    <a:pt x="400805" y="5077902"/>
                    <a:pt x="409503" y="5083942"/>
                  </a:cubicBezTo>
                  <a:lnTo>
                    <a:pt x="461889" y="5119888"/>
                  </a:lnTo>
                  <a:cubicBezTo>
                    <a:pt x="466184" y="5122893"/>
                    <a:pt x="470616" y="5125820"/>
                    <a:pt x="474883" y="5128933"/>
                  </a:cubicBezTo>
                  <a:cubicBezTo>
                    <a:pt x="478982" y="5132235"/>
                    <a:pt x="482476" y="5136069"/>
                    <a:pt x="486410" y="5139557"/>
                  </a:cubicBezTo>
                  <a:cubicBezTo>
                    <a:pt x="494140" y="5146613"/>
                    <a:pt x="502565" y="5152812"/>
                    <a:pt x="510852" y="5159089"/>
                  </a:cubicBezTo>
                  <a:lnTo>
                    <a:pt x="560653" y="5196893"/>
                  </a:lnTo>
                  <a:lnTo>
                    <a:pt x="585485" y="5215834"/>
                  </a:lnTo>
                  <a:cubicBezTo>
                    <a:pt x="593773" y="5222111"/>
                    <a:pt x="601864" y="5228685"/>
                    <a:pt x="610707" y="5234185"/>
                  </a:cubicBezTo>
                  <a:lnTo>
                    <a:pt x="714768" y="5303103"/>
                  </a:lnTo>
                  <a:cubicBezTo>
                    <a:pt x="856162" y="5390603"/>
                    <a:pt x="1008099" y="5459947"/>
                    <a:pt x="1166634" y="5513322"/>
                  </a:cubicBezTo>
                  <a:cubicBezTo>
                    <a:pt x="1186540" y="5519932"/>
                    <a:pt x="1205774" y="5527751"/>
                    <a:pt x="1225991" y="5533632"/>
                  </a:cubicBezTo>
                  <a:lnTo>
                    <a:pt x="1286680" y="5550705"/>
                  </a:lnTo>
                  <a:lnTo>
                    <a:pt x="1347310" y="5567995"/>
                  </a:lnTo>
                  <a:cubicBezTo>
                    <a:pt x="1357469" y="5571180"/>
                    <a:pt x="1367261" y="5573572"/>
                    <a:pt x="1377002" y="5575719"/>
                  </a:cubicBezTo>
                  <a:lnTo>
                    <a:pt x="1406328" y="5582649"/>
                  </a:lnTo>
                  <a:cubicBezTo>
                    <a:pt x="1425825" y="5587757"/>
                    <a:pt x="1445490" y="5590939"/>
                    <a:pt x="1465060" y="5594909"/>
                  </a:cubicBezTo>
                  <a:cubicBezTo>
                    <a:pt x="1484652" y="5599231"/>
                    <a:pt x="1504324" y="5601952"/>
                    <a:pt x="1523881" y="5605105"/>
                  </a:cubicBezTo>
                  <a:cubicBezTo>
                    <a:pt x="1533660" y="5606682"/>
                    <a:pt x="1543460" y="5608613"/>
                    <a:pt x="1553325" y="5609865"/>
                  </a:cubicBezTo>
                  <a:lnTo>
                    <a:pt x="1582813" y="5613593"/>
                  </a:lnTo>
                  <a:lnTo>
                    <a:pt x="1612301" y="5617321"/>
                  </a:lnTo>
                  <a:lnTo>
                    <a:pt x="1641863" y="5619910"/>
                  </a:lnTo>
                  <a:cubicBezTo>
                    <a:pt x="1799348" y="5633940"/>
                    <a:pt x="1957913" y="5625770"/>
                    <a:pt x="2117508" y="5595156"/>
                  </a:cubicBezTo>
                  <a:cubicBezTo>
                    <a:pt x="2277124" y="5564895"/>
                    <a:pt x="2437004" y="5512449"/>
                    <a:pt x="2597368" y="5447381"/>
                  </a:cubicBezTo>
                  <a:cubicBezTo>
                    <a:pt x="2757791" y="5382096"/>
                    <a:pt x="2918855" y="5304464"/>
                    <a:pt x="3082968" y="5223245"/>
                  </a:cubicBezTo>
                  <a:lnTo>
                    <a:pt x="3334855" y="5097383"/>
                  </a:lnTo>
                  <a:cubicBezTo>
                    <a:pt x="3423528" y="5054142"/>
                    <a:pt x="3511773" y="5013798"/>
                    <a:pt x="3599509" y="4976217"/>
                  </a:cubicBezTo>
                  <a:cubicBezTo>
                    <a:pt x="3774960" y="4900701"/>
                    <a:pt x="3948276" y="4837481"/>
                    <a:pt x="4112002" y="4766359"/>
                  </a:cubicBezTo>
                  <a:cubicBezTo>
                    <a:pt x="4193972" y="4730827"/>
                    <a:pt x="4273429" y="4692997"/>
                    <a:pt x="4348983" y="4649833"/>
                  </a:cubicBezTo>
                  <a:cubicBezTo>
                    <a:pt x="4424508" y="4606778"/>
                    <a:pt x="4496050" y="4558250"/>
                    <a:pt x="4560505" y="4501564"/>
                  </a:cubicBezTo>
                  <a:cubicBezTo>
                    <a:pt x="4625198" y="4445289"/>
                    <a:pt x="4682991" y="4381021"/>
                    <a:pt x="4731963" y="4309870"/>
                  </a:cubicBezTo>
                  <a:cubicBezTo>
                    <a:pt x="4781043" y="4238747"/>
                    <a:pt x="4821275" y="4160848"/>
                    <a:pt x="4852344" y="4078640"/>
                  </a:cubicBezTo>
                  <a:lnTo>
                    <a:pt x="4863972" y="4047790"/>
                  </a:lnTo>
                  <a:lnTo>
                    <a:pt x="4874144" y="4016320"/>
                  </a:lnTo>
                  <a:lnTo>
                    <a:pt x="4884127" y="3984682"/>
                  </a:lnTo>
                  <a:cubicBezTo>
                    <a:pt x="4887242" y="3973925"/>
                    <a:pt x="4889981" y="3962835"/>
                    <a:pt x="4892800" y="3951883"/>
                  </a:cubicBezTo>
                  <a:lnTo>
                    <a:pt x="4909526" y="3886001"/>
                  </a:lnTo>
                  <a:lnTo>
                    <a:pt x="4917687" y="3852948"/>
                  </a:lnTo>
                  <a:lnTo>
                    <a:pt x="4921768" y="3836422"/>
                  </a:lnTo>
                  <a:lnTo>
                    <a:pt x="4924845" y="3819742"/>
                  </a:lnTo>
                  <a:cubicBezTo>
                    <a:pt x="4933092" y="3775120"/>
                    <a:pt x="4941231" y="3730469"/>
                    <a:pt x="4948230" y="3685744"/>
                  </a:cubicBezTo>
                  <a:cubicBezTo>
                    <a:pt x="4953579" y="3640694"/>
                    <a:pt x="4958249" y="3595577"/>
                    <a:pt x="4962782" y="3550540"/>
                  </a:cubicBezTo>
                  <a:cubicBezTo>
                    <a:pt x="4976580" y="3369692"/>
                    <a:pt x="4965812" y="3187942"/>
                    <a:pt x="4939468" y="3010249"/>
                  </a:cubicBezTo>
                  <a:cubicBezTo>
                    <a:pt x="4912965" y="2832281"/>
                    <a:pt x="4870237" y="2658196"/>
                    <a:pt x="4816901" y="2488224"/>
                  </a:cubicBezTo>
                  <a:cubicBezTo>
                    <a:pt x="4810197" y="2466954"/>
                    <a:pt x="4803984" y="2445582"/>
                    <a:pt x="4797005" y="2424470"/>
                  </a:cubicBezTo>
                  <a:cubicBezTo>
                    <a:pt x="4789399" y="2403537"/>
                    <a:pt x="4781686" y="2382574"/>
                    <a:pt x="4774433" y="2361620"/>
                  </a:cubicBezTo>
                  <a:lnTo>
                    <a:pt x="4752459" y="2298700"/>
                  </a:lnTo>
                  <a:lnTo>
                    <a:pt x="4728083" y="2236526"/>
                  </a:lnTo>
                  <a:cubicBezTo>
                    <a:pt x="4719957" y="2215802"/>
                    <a:pt x="4712352" y="2194869"/>
                    <a:pt x="4704471" y="2174095"/>
                  </a:cubicBezTo>
                  <a:lnTo>
                    <a:pt x="4678399" y="2112626"/>
                  </a:lnTo>
                  <a:lnTo>
                    <a:pt x="4652601" y="2050999"/>
                  </a:lnTo>
                  <a:cubicBezTo>
                    <a:pt x="4643711" y="2030533"/>
                    <a:pt x="4633616" y="2010672"/>
                    <a:pt x="4624205" y="1990415"/>
                  </a:cubicBezTo>
                  <a:lnTo>
                    <a:pt x="4595398" y="1930069"/>
                  </a:lnTo>
                  <a:cubicBezTo>
                    <a:pt x="4585714" y="1909969"/>
                    <a:pt x="4574413" y="1890713"/>
                    <a:pt x="4563827" y="1870952"/>
                  </a:cubicBezTo>
                  <a:lnTo>
                    <a:pt x="4531433" y="1812311"/>
                  </a:lnTo>
                  <a:lnTo>
                    <a:pt x="4523315" y="1797616"/>
                  </a:lnTo>
                  <a:lnTo>
                    <a:pt x="4514482" y="1783425"/>
                  </a:lnTo>
                  <a:lnTo>
                    <a:pt x="4496845" y="1754936"/>
                  </a:lnTo>
                  <a:lnTo>
                    <a:pt x="4461463" y="1697929"/>
                  </a:lnTo>
                  <a:lnTo>
                    <a:pt x="4452660" y="1683629"/>
                  </a:lnTo>
                  <a:lnTo>
                    <a:pt x="4443141" y="1669834"/>
                  </a:lnTo>
                  <a:lnTo>
                    <a:pt x="4424241" y="1642166"/>
                  </a:lnTo>
                  <a:cubicBezTo>
                    <a:pt x="4399005" y="1605265"/>
                    <a:pt x="4374512" y="1567751"/>
                    <a:pt x="4346886" y="1532412"/>
                  </a:cubicBezTo>
                  <a:cubicBezTo>
                    <a:pt x="4240477" y="1388328"/>
                    <a:pt x="4120362" y="1253437"/>
                    <a:pt x="3985497" y="1134649"/>
                  </a:cubicBezTo>
                  <a:cubicBezTo>
                    <a:pt x="3850799" y="1015675"/>
                    <a:pt x="3702920" y="911715"/>
                    <a:pt x="3545665" y="825877"/>
                  </a:cubicBezTo>
                  <a:lnTo>
                    <a:pt x="3486190" y="794756"/>
                  </a:lnTo>
                  <a:cubicBezTo>
                    <a:pt x="3466181" y="784640"/>
                    <a:pt x="3446893" y="773560"/>
                    <a:pt x="3426182" y="764765"/>
                  </a:cubicBezTo>
                  <a:lnTo>
                    <a:pt x="3365044" y="737255"/>
                  </a:lnTo>
                  <a:lnTo>
                    <a:pt x="3334529" y="723514"/>
                  </a:lnTo>
                  <a:cubicBezTo>
                    <a:pt x="3324394" y="718943"/>
                    <a:pt x="3314287" y="714265"/>
                    <a:pt x="3303733" y="710395"/>
                  </a:cubicBezTo>
                  <a:cubicBezTo>
                    <a:pt x="3262013" y="694346"/>
                    <a:pt x="3220711" y="677599"/>
                    <a:pt x="3179033" y="662259"/>
                  </a:cubicBezTo>
                  <a:lnTo>
                    <a:pt x="3052408" y="620447"/>
                  </a:lnTo>
                  <a:lnTo>
                    <a:pt x="2924325" y="584505"/>
                  </a:lnTo>
                  <a:cubicBezTo>
                    <a:pt x="2903106" y="578471"/>
                    <a:pt x="2881119" y="574434"/>
                    <a:pt x="2859667" y="569266"/>
                  </a:cubicBezTo>
                  <a:lnTo>
                    <a:pt x="2795226" y="554085"/>
                  </a:lnTo>
                  <a:cubicBezTo>
                    <a:pt x="2774078" y="548652"/>
                    <a:pt x="2751709" y="544744"/>
                    <a:pt x="2729702" y="540354"/>
                  </a:cubicBezTo>
                  <a:lnTo>
                    <a:pt x="2663758" y="527322"/>
                  </a:lnTo>
                  <a:lnTo>
                    <a:pt x="2630927" y="520495"/>
                  </a:lnTo>
                  <a:lnTo>
                    <a:pt x="2597965" y="515024"/>
                  </a:lnTo>
                  <a:cubicBezTo>
                    <a:pt x="2575970" y="511449"/>
                    <a:pt x="2554112" y="507795"/>
                    <a:pt x="2532205" y="503895"/>
                  </a:cubicBezTo>
                  <a:cubicBezTo>
                    <a:pt x="2357016" y="475037"/>
                    <a:pt x="2182954" y="456682"/>
                    <a:pt x="2010064" y="452552"/>
                  </a:cubicBezTo>
                  <a:cubicBezTo>
                    <a:pt x="1837255" y="448558"/>
                    <a:pt x="1665388" y="457916"/>
                    <a:pt x="1494552" y="485055"/>
                  </a:cubicBezTo>
                  <a:cubicBezTo>
                    <a:pt x="1452133" y="492816"/>
                    <a:pt x="1409569" y="501117"/>
                    <a:pt x="1366896" y="509389"/>
                  </a:cubicBezTo>
                  <a:cubicBezTo>
                    <a:pt x="1324862" y="520035"/>
                    <a:pt x="1282333" y="529505"/>
                    <a:pt x="1240175" y="541045"/>
                  </a:cubicBezTo>
                  <a:lnTo>
                    <a:pt x="1177438" y="560170"/>
                  </a:lnTo>
                  <a:lnTo>
                    <a:pt x="1145987" y="569826"/>
                  </a:lnTo>
                  <a:lnTo>
                    <a:pt x="1130315" y="574669"/>
                  </a:lnTo>
                  <a:lnTo>
                    <a:pt x="1114873" y="580384"/>
                  </a:lnTo>
                  <a:lnTo>
                    <a:pt x="1052839" y="602943"/>
                  </a:lnTo>
                  <a:cubicBezTo>
                    <a:pt x="1032151" y="610499"/>
                    <a:pt x="1011255" y="617535"/>
                    <a:pt x="991135" y="626866"/>
                  </a:cubicBezTo>
                  <a:lnTo>
                    <a:pt x="930179" y="653191"/>
                  </a:lnTo>
                  <a:cubicBezTo>
                    <a:pt x="909850" y="662002"/>
                    <a:pt x="889443" y="670676"/>
                    <a:pt x="869768" y="680937"/>
                  </a:cubicBezTo>
                  <a:lnTo>
                    <a:pt x="810085" y="710734"/>
                  </a:lnTo>
                  <a:cubicBezTo>
                    <a:pt x="790331" y="720859"/>
                    <a:pt x="770124" y="730514"/>
                    <a:pt x="751220" y="741794"/>
                  </a:cubicBezTo>
                  <a:cubicBezTo>
                    <a:pt x="673929" y="784955"/>
                    <a:pt x="598827" y="830326"/>
                    <a:pt x="532669" y="881688"/>
                  </a:cubicBezTo>
                  <a:cubicBezTo>
                    <a:pt x="464226" y="931625"/>
                    <a:pt x="406969" y="988270"/>
                    <a:pt x="354185" y="1050286"/>
                  </a:cubicBezTo>
                  <a:lnTo>
                    <a:pt x="315980" y="1098125"/>
                  </a:lnTo>
                  <a:lnTo>
                    <a:pt x="280345" y="1149782"/>
                  </a:lnTo>
                  <a:cubicBezTo>
                    <a:pt x="268144" y="1166335"/>
                    <a:pt x="257438" y="1185955"/>
                    <a:pt x="245890" y="1203959"/>
                  </a:cubicBezTo>
                  <a:cubicBezTo>
                    <a:pt x="234552" y="1222481"/>
                    <a:pt x="223171" y="1240298"/>
                    <a:pt x="212162" y="1260184"/>
                  </a:cubicBezTo>
                  <a:cubicBezTo>
                    <a:pt x="168299" y="1337574"/>
                    <a:pt x="125055" y="1419360"/>
                    <a:pt x="80716" y="1502476"/>
                  </a:cubicBezTo>
                  <a:lnTo>
                    <a:pt x="0" y="1648841"/>
                  </a:lnTo>
                  <a:lnTo>
                    <a:pt x="0" y="954863"/>
                  </a:lnTo>
                  <a:lnTo>
                    <a:pt x="43491" y="895513"/>
                  </a:lnTo>
                  <a:cubicBezTo>
                    <a:pt x="59888" y="874984"/>
                    <a:pt x="77014" y="854766"/>
                    <a:pt x="93923" y="834489"/>
                  </a:cubicBezTo>
                  <a:cubicBezTo>
                    <a:pt x="163245" y="754880"/>
                    <a:pt x="240806" y="679565"/>
                    <a:pt x="323465" y="617671"/>
                  </a:cubicBezTo>
                  <a:cubicBezTo>
                    <a:pt x="405002" y="553042"/>
                    <a:pt x="490132" y="499230"/>
                    <a:pt x="574777" y="446794"/>
                  </a:cubicBezTo>
                  <a:cubicBezTo>
                    <a:pt x="595733" y="433050"/>
                    <a:pt x="617442" y="421248"/>
                    <a:pt x="638943" y="408925"/>
                  </a:cubicBezTo>
                  <a:lnTo>
                    <a:pt x="703505" y="371742"/>
                  </a:lnTo>
                  <a:cubicBezTo>
                    <a:pt x="724798" y="358900"/>
                    <a:pt x="747120" y="347842"/>
                    <a:pt x="769262" y="336154"/>
                  </a:cubicBezTo>
                  <a:lnTo>
                    <a:pt x="835552" y="301173"/>
                  </a:lnTo>
                  <a:cubicBezTo>
                    <a:pt x="857427" y="289183"/>
                    <a:pt x="880470" y="278896"/>
                    <a:pt x="902979" y="268004"/>
                  </a:cubicBezTo>
                  <a:lnTo>
                    <a:pt x="971127" y="235607"/>
                  </a:lnTo>
                  <a:lnTo>
                    <a:pt x="988238" y="227556"/>
                  </a:lnTo>
                  <a:lnTo>
                    <a:pt x="1005744" y="220191"/>
                  </a:lnTo>
                  <a:lnTo>
                    <a:pt x="1040729" y="205569"/>
                  </a:lnTo>
                  <a:lnTo>
                    <a:pt x="1110835" y="176248"/>
                  </a:lnTo>
                  <a:cubicBezTo>
                    <a:pt x="1157999" y="157703"/>
                    <a:pt x="1206322" y="141323"/>
                    <a:pt x="1254256" y="123796"/>
                  </a:cubicBezTo>
                  <a:cubicBezTo>
                    <a:pt x="1302938" y="108671"/>
                    <a:pt x="1352074" y="94017"/>
                    <a:pt x="1401310" y="79852"/>
                  </a:cubicBezTo>
                  <a:cubicBezTo>
                    <a:pt x="1599497" y="26774"/>
                    <a:pt x="1806373" y="-329"/>
                    <a:pt x="2011811" y="4"/>
                  </a:cubicBezTo>
                  <a:close/>
                </a:path>
              </a:pathLst>
            </a:custGeom>
            <a:gradFill>
              <a:gsLst>
                <a:gs pos="2000">
                  <a:schemeClr val="bg1">
                    <a:alpha val="10000"/>
                  </a:schemeClr>
                </a:gs>
                <a:gs pos="16000">
                  <a:schemeClr val="accent6">
                    <a:alpha val="10000"/>
                  </a:schemeClr>
                </a:gs>
                <a:gs pos="100000">
                  <a:schemeClr val="bg1">
                    <a:alpha val="10000"/>
                  </a:schemeClr>
                </a:gs>
                <a:gs pos="85000">
                  <a:schemeClr val="accent1">
                    <a:alpha val="10000"/>
                  </a:schemeClr>
                </a:gs>
              </a:gsLst>
              <a:lin ang="12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Shape 14">
              <a:extLst>
                <a:ext uri="{FF2B5EF4-FFF2-40B4-BE49-F238E27FC236}">
                  <a16:creationId xmlns:a16="http://schemas.microsoft.com/office/drawing/2014/main" id="{06AC5DCC-C3CC-4FD5-AD4E-13A1BE5F7F68}"/>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19220" y="297400"/>
              <a:ext cx="5215811" cy="6107388"/>
            </a:xfrm>
            <a:custGeom>
              <a:avLst/>
              <a:gdLst>
                <a:gd name="connsiteX0" fmla="*/ 1869139 w 5215811"/>
                <a:gd name="connsiteY0" fmla="*/ 9 h 6107388"/>
                <a:gd name="connsiteX1" fmla="*/ 2791149 w 5215811"/>
                <a:gd name="connsiteY1" fmla="*/ 130229 h 6107388"/>
                <a:gd name="connsiteX2" fmla="*/ 4760307 w 5215811"/>
                <a:gd name="connsiteY2" fmla="*/ 1608408 h 6107388"/>
                <a:gd name="connsiteX3" fmla="*/ 5108574 w 5215811"/>
                <a:gd name="connsiteY3" fmla="*/ 4050383 h 6107388"/>
                <a:gd name="connsiteX4" fmla="*/ 3434916 w 5215811"/>
                <a:gd name="connsiteY4" fmla="*/ 5503134 h 6107388"/>
                <a:gd name="connsiteX5" fmla="*/ 1137841 w 5215811"/>
                <a:gd name="connsiteY5" fmla="*/ 6033968 h 6107388"/>
                <a:gd name="connsiteX6" fmla="*/ 217555 w 5215811"/>
                <a:gd name="connsiteY6" fmla="*/ 5598945 h 6107388"/>
                <a:gd name="connsiteX7" fmla="*/ 0 w 5215811"/>
                <a:gd name="connsiteY7" fmla="*/ 5419622 h 6107388"/>
                <a:gd name="connsiteX8" fmla="*/ 0 w 5215811"/>
                <a:gd name="connsiteY8" fmla="*/ 4571683 h 6107388"/>
                <a:gd name="connsiteX9" fmla="*/ 18056 w 5215811"/>
                <a:gd name="connsiteY9" fmla="*/ 4599282 h 6107388"/>
                <a:gd name="connsiteX10" fmla="*/ 358324 w 5215811"/>
                <a:gd name="connsiteY10" fmla="*/ 4988154 h 6107388"/>
                <a:gd name="connsiteX11" fmla="*/ 1282741 w 5215811"/>
                <a:gd name="connsiteY11" fmla="*/ 5493193 h 6107388"/>
                <a:gd name="connsiteX12" fmla="*/ 2172794 w 5215811"/>
                <a:gd name="connsiteY12" fmla="*/ 5470630 h 6107388"/>
                <a:gd name="connsiteX13" fmla="*/ 3146893 w 5215811"/>
                <a:gd name="connsiteY13" fmla="*/ 5016296 h 6107388"/>
                <a:gd name="connsiteX14" fmla="*/ 3574114 w 5215811"/>
                <a:gd name="connsiteY14" fmla="*/ 4791124 h 6107388"/>
                <a:gd name="connsiteX15" fmla="*/ 4244948 w 5215811"/>
                <a:gd name="connsiteY15" fmla="*/ 4392664 h 6107388"/>
                <a:gd name="connsiteX16" fmla="*/ 4556385 w 5215811"/>
                <a:gd name="connsiteY16" fmla="*/ 3902656 h 6107388"/>
                <a:gd name="connsiteX17" fmla="*/ 4616354 w 5215811"/>
                <a:gd name="connsiteY17" fmla="*/ 2851680 h 6107388"/>
                <a:gd name="connsiteX18" fmla="*/ 4269266 w 5215811"/>
                <a:gd name="connsiteY18" fmla="*/ 1889625 h 6107388"/>
                <a:gd name="connsiteX19" fmla="*/ 2645976 w 5215811"/>
                <a:gd name="connsiteY19" fmla="*/ 671162 h 6107388"/>
                <a:gd name="connsiteX20" fmla="*/ 1648930 w 5215811"/>
                <a:gd name="connsiteY20" fmla="*/ 573017 h 6107388"/>
                <a:gd name="connsiteX21" fmla="*/ 771768 w 5215811"/>
                <a:gd name="connsiteY21" fmla="*/ 865882 h 6107388"/>
                <a:gd name="connsiteX22" fmla="*/ 433617 w 5215811"/>
                <a:gd name="connsiteY22" fmla="*/ 1119441 h 6107388"/>
                <a:gd name="connsiteX23" fmla="*/ 200571 w 5215811"/>
                <a:gd name="connsiteY23" fmla="*/ 1486480 h 6107388"/>
                <a:gd name="connsiteX24" fmla="*/ 47077 w 5215811"/>
                <a:gd name="connsiteY24" fmla="*/ 1753604 h 6107388"/>
                <a:gd name="connsiteX25" fmla="*/ 0 w 5215811"/>
                <a:gd name="connsiteY25" fmla="*/ 1831655 h 6107388"/>
                <a:gd name="connsiteX26" fmla="*/ 0 w 5215811"/>
                <a:gd name="connsiteY26" fmla="*/ 751112 h 6107388"/>
                <a:gd name="connsiteX27" fmla="*/ 6994 w 5215811"/>
                <a:gd name="connsiteY27" fmla="*/ 742614 h 6107388"/>
                <a:gd name="connsiteX28" fmla="*/ 484047 w 5215811"/>
                <a:gd name="connsiteY28" fmla="*/ 378777 h 6107388"/>
                <a:gd name="connsiteX29" fmla="*/ 1869139 w 5215811"/>
                <a:gd name="connsiteY29" fmla="*/ 9 h 61073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215811" h="6107388">
                  <a:moveTo>
                    <a:pt x="1869139" y="9"/>
                  </a:moveTo>
                  <a:cubicBezTo>
                    <a:pt x="2160924" y="-706"/>
                    <a:pt x="2465752" y="43039"/>
                    <a:pt x="2791149" y="130229"/>
                  </a:cubicBezTo>
                  <a:cubicBezTo>
                    <a:pt x="3651198" y="360678"/>
                    <a:pt x="4339884" y="907924"/>
                    <a:pt x="4760307" y="1608408"/>
                  </a:cubicBezTo>
                  <a:cubicBezTo>
                    <a:pt x="5188180" y="2321320"/>
                    <a:pt x="5338357" y="3192822"/>
                    <a:pt x="5108574" y="4050383"/>
                  </a:cubicBezTo>
                  <a:cubicBezTo>
                    <a:pt x="4880820" y="4900373"/>
                    <a:pt x="4152841" y="5098512"/>
                    <a:pt x="3434916" y="5503134"/>
                  </a:cubicBezTo>
                  <a:cubicBezTo>
                    <a:pt x="2717099" y="5907783"/>
                    <a:pt x="2005568" y="6266474"/>
                    <a:pt x="1137841" y="6033968"/>
                  </a:cubicBezTo>
                  <a:cubicBezTo>
                    <a:pt x="783079" y="5938910"/>
                    <a:pt x="479573" y="5790114"/>
                    <a:pt x="217555" y="5598945"/>
                  </a:cubicBezTo>
                  <a:lnTo>
                    <a:pt x="0" y="5419622"/>
                  </a:lnTo>
                  <a:lnTo>
                    <a:pt x="0" y="4571683"/>
                  </a:lnTo>
                  <a:lnTo>
                    <a:pt x="18056" y="4599282"/>
                  </a:lnTo>
                  <a:cubicBezTo>
                    <a:pt x="124071" y="4746782"/>
                    <a:pt x="237002" y="4875718"/>
                    <a:pt x="358324" y="4988154"/>
                  </a:cubicBezTo>
                  <a:cubicBezTo>
                    <a:pt x="621323" y="5231809"/>
                    <a:pt x="923667" y="5396979"/>
                    <a:pt x="1282741" y="5493193"/>
                  </a:cubicBezTo>
                  <a:cubicBezTo>
                    <a:pt x="1573894" y="5571207"/>
                    <a:pt x="1856732" y="5563878"/>
                    <a:pt x="2172794" y="5470630"/>
                  </a:cubicBezTo>
                  <a:cubicBezTo>
                    <a:pt x="2498985" y="5374183"/>
                    <a:pt x="2832844" y="5193315"/>
                    <a:pt x="3146893" y="5016296"/>
                  </a:cubicBezTo>
                  <a:cubicBezTo>
                    <a:pt x="3293538" y="4933641"/>
                    <a:pt x="3436182" y="4861160"/>
                    <a:pt x="3574114" y="4791124"/>
                  </a:cubicBezTo>
                  <a:cubicBezTo>
                    <a:pt x="3841238" y="4655550"/>
                    <a:pt x="4071901" y="4538375"/>
                    <a:pt x="4244948" y="4392664"/>
                  </a:cubicBezTo>
                  <a:cubicBezTo>
                    <a:pt x="4405844" y="4257259"/>
                    <a:pt x="4501845" y="4106204"/>
                    <a:pt x="4556385" y="3902656"/>
                  </a:cubicBezTo>
                  <a:cubicBezTo>
                    <a:pt x="4649063" y="3556776"/>
                    <a:pt x="4669271" y="3203187"/>
                    <a:pt x="4616354" y="2851680"/>
                  </a:cubicBezTo>
                  <a:cubicBezTo>
                    <a:pt x="4565198" y="2511774"/>
                    <a:pt x="4448474" y="2188147"/>
                    <a:pt x="4269266" y="1889625"/>
                  </a:cubicBezTo>
                  <a:cubicBezTo>
                    <a:pt x="3907781" y="1287586"/>
                    <a:pt x="3331245" y="854780"/>
                    <a:pt x="2645976" y="671162"/>
                  </a:cubicBezTo>
                  <a:cubicBezTo>
                    <a:pt x="2278249" y="572630"/>
                    <a:pt x="1952074" y="540526"/>
                    <a:pt x="1648930" y="573017"/>
                  </a:cubicBezTo>
                  <a:cubicBezTo>
                    <a:pt x="1351746" y="604901"/>
                    <a:pt x="1064785" y="700731"/>
                    <a:pt x="771768" y="865882"/>
                  </a:cubicBezTo>
                  <a:cubicBezTo>
                    <a:pt x="568061" y="980657"/>
                    <a:pt x="486465" y="1058486"/>
                    <a:pt x="433617" y="1119441"/>
                  </a:cubicBezTo>
                  <a:cubicBezTo>
                    <a:pt x="358307" y="1206256"/>
                    <a:pt x="292149" y="1323808"/>
                    <a:pt x="200571" y="1486480"/>
                  </a:cubicBezTo>
                  <a:cubicBezTo>
                    <a:pt x="156644" y="1564432"/>
                    <a:pt x="106654" y="1653214"/>
                    <a:pt x="47077" y="1753604"/>
                  </a:cubicBezTo>
                  <a:lnTo>
                    <a:pt x="0" y="1831655"/>
                  </a:lnTo>
                  <a:lnTo>
                    <a:pt x="0" y="751112"/>
                  </a:lnTo>
                  <a:lnTo>
                    <a:pt x="6994" y="742614"/>
                  </a:lnTo>
                  <a:cubicBezTo>
                    <a:pt x="117721" y="617683"/>
                    <a:pt x="259696" y="505222"/>
                    <a:pt x="484047" y="378777"/>
                  </a:cubicBezTo>
                  <a:cubicBezTo>
                    <a:pt x="932751" y="125890"/>
                    <a:pt x="1382831" y="1200"/>
                    <a:pt x="1869139" y="9"/>
                  </a:cubicBezTo>
                  <a:close/>
                </a:path>
              </a:pathLst>
            </a:custGeom>
            <a:gradFill>
              <a:gsLst>
                <a:gs pos="2000">
                  <a:schemeClr val="bg1">
                    <a:alpha val="10000"/>
                  </a:schemeClr>
                </a:gs>
                <a:gs pos="16000">
                  <a:schemeClr val="accent6">
                    <a:alpha val="10000"/>
                  </a:schemeClr>
                </a:gs>
                <a:gs pos="100000">
                  <a:schemeClr val="bg1">
                    <a:alpha val="10000"/>
                  </a:schemeClr>
                </a:gs>
                <a:gs pos="85000">
                  <a:schemeClr val="accent1">
                    <a:alpha val="10000"/>
                  </a:schemeClr>
                </a:gs>
              </a:gsLst>
              <a:lin ang="12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6" name="Freeform: Shape 15">
              <a:extLst>
                <a:ext uri="{FF2B5EF4-FFF2-40B4-BE49-F238E27FC236}">
                  <a16:creationId xmlns:a16="http://schemas.microsoft.com/office/drawing/2014/main" id="{4BBCC2F4-EFA7-4AF4-B538-AC4022D90F47}"/>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19221" y="319367"/>
              <a:ext cx="5217956" cy="6100079"/>
            </a:xfrm>
            <a:custGeom>
              <a:avLst/>
              <a:gdLst>
                <a:gd name="connsiteX0" fmla="*/ 1951393 w 5217956"/>
                <a:gd name="connsiteY0" fmla="*/ 82 h 6100079"/>
                <a:gd name="connsiteX1" fmla="*/ 2855177 w 5217956"/>
                <a:gd name="connsiteY1" fmla="*/ 125419 h 6100079"/>
                <a:gd name="connsiteX2" fmla="*/ 4779341 w 5217956"/>
                <a:gd name="connsiteY2" fmla="*/ 1591542 h 6100079"/>
                <a:gd name="connsiteX3" fmla="*/ 5108573 w 5217956"/>
                <a:gd name="connsiteY3" fmla="*/ 4028416 h 6100079"/>
                <a:gd name="connsiteX4" fmla="*/ 3459358 w 5217956"/>
                <a:gd name="connsiteY4" fmla="*/ 5487716 h 6100079"/>
                <a:gd name="connsiteX5" fmla="*/ 1203274 w 5217956"/>
                <a:gd name="connsiteY5" fmla="*/ 6029534 h 6100079"/>
                <a:gd name="connsiteX6" fmla="*/ 59920 w 5217956"/>
                <a:gd name="connsiteY6" fmla="*/ 5396467 h 6100079"/>
                <a:gd name="connsiteX7" fmla="*/ 0 w 5217956"/>
                <a:gd name="connsiteY7" fmla="*/ 5333382 h 6100079"/>
                <a:gd name="connsiteX8" fmla="*/ 0 w 5217956"/>
                <a:gd name="connsiteY8" fmla="*/ 4205833 h 6100079"/>
                <a:gd name="connsiteX9" fmla="*/ 58036 w 5217956"/>
                <a:gd name="connsiteY9" fmla="*/ 4310048 h 6100079"/>
                <a:gd name="connsiteX10" fmla="*/ 520779 w 5217956"/>
                <a:gd name="connsiteY10" fmla="*/ 4907591 h 6100079"/>
                <a:gd name="connsiteX11" fmla="*/ 1377154 w 5217956"/>
                <a:gd name="connsiteY11" fmla="*/ 5380604 h 6100079"/>
                <a:gd name="connsiteX12" fmla="*/ 3123340 w 5217956"/>
                <a:gd name="connsiteY12" fmla="*/ 4905715 h 6100079"/>
                <a:gd name="connsiteX13" fmla="*/ 3547863 w 5217956"/>
                <a:gd name="connsiteY13" fmla="*/ 4676342 h 6100079"/>
                <a:gd name="connsiteX14" fmla="*/ 4186753 w 5217956"/>
                <a:gd name="connsiteY14" fmla="*/ 4289376 h 6100079"/>
                <a:gd name="connsiteX15" fmla="*/ 4459565 w 5217956"/>
                <a:gd name="connsiteY15" fmla="*/ 3854399 h 6100079"/>
                <a:gd name="connsiteX16" fmla="*/ 4521015 w 5217956"/>
                <a:gd name="connsiteY16" fmla="*/ 2849377 h 6100079"/>
                <a:gd name="connsiteX17" fmla="*/ 4199723 w 5217956"/>
                <a:gd name="connsiteY17" fmla="*/ 1931213 h 6100079"/>
                <a:gd name="connsiteX18" fmla="*/ 2681217 w 5217956"/>
                <a:gd name="connsiteY18" fmla="*/ 774211 h 6100079"/>
                <a:gd name="connsiteX19" fmla="*/ 926547 w 5217956"/>
                <a:gd name="connsiteY19" fmla="*/ 967112 h 6100079"/>
                <a:gd name="connsiteX20" fmla="*/ 622677 w 5217956"/>
                <a:gd name="connsiteY20" fmla="*/ 1197863 h 6100079"/>
                <a:gd name="connsiteX21" fmla="*/ 404892 w 5217956"/>
                <a:gd name="connsiteY21" fmla="*/ 1547314 h 6100079"/>
                <a:gd name="connsiteX22" fmla="*/ 40135 w 5217956"/>
                <a:gd name="connsiteY22" fmla="*/ 2159090 h 6100079"/>
                <a:gd name="connsiteX23" fmla="*/ 0 w 5217956"/>
                <a:gd name="connsiteY23" fmla="*/ 2219367 h 6100079"/>
                <a:gd name="connsiteX24" fmla="*/ 0 w 5217956"/>
                <a:gd name="connsiteY24" fmla="*/ 915659 h 6100079"/>
                <a:gd name="connsiteX25" fmla="*/ 58609 w 5217956"/>
                <a:gd name="connsiteY25" fmla="*/ 828051 h 6100079"/>
                <a:gd name="connsiteX26" fmla="*/ 590688 w 5217956"/>
                <a:gd name="connsiteY26" fmla="*/ 385385 h 6100079"/>
                <a:gd name="connsiteX27" fmla="*/ 1951393 w 5217956"/>
                <a:gd name="connsiteY27" fmla="*/ 82 h 61000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5217956" h="6100079">
                  <a:moveTo>
                    <a:pt x="1951393" y="82"/>
                  </a:moveTo>
                  <a:cubicBezTo>
                    <a:pt x="2237631" y="-2119"/>
                    <a:pt x="2536431" y="40011"/>
                    <a:pt x="2855177" y="125419"/>
                  </a:cubicBezTo>
                  <a:cubicBezTo>
                    <a:pt x="3697704" y="351173"/>
                    <a:pt x="4370490" y="894159"/>
                    <a:pt x="4779341" y="1591542"/>
                  </a:cubicBezTo>
                  <a:cubicBezTo>
                    <a:pt x="5195534" y="2301324"/>
                    <a:pt x="5338356" y="3170855"/>
                    <a:pt x="5108573" y="4028416"/>
                  </a:cubicBezTo>
                  <a:cubicBezTo>
                    <a:pt x="4880819" y="4878406"/>
                    <a:pt x="4165603" y="5079965"/>
                    <a:pt x="3459358" y="5487716"/>
                  </a:cubicBezTo>
                  <a:cubicBezTo>
                    <a:pt x="2753114" y="5895466"/>
                    <a:pt x="2053264" y="6257288"/>
                    <a:pt x="1203274" y="6029534"/>
                  </a:cubicBezTo>
                  <a:cubicBezTo>
                    <a:pt x="739884" y="5905369"/>
                    <a:pt x="366399" y="5685345"/>
                    <a:pt x="59920" y="5396467"/>
                  </a:cubicBezTo>
                  <a:lnTo>
                    <a:pt x="0" y="5333382"/>
                  </a:lnTo>
                  <a:lnTo>
                    <a:pt x="0" y="4205833"/>
                  </a:lnTo>
                  <a:lnTo>
                    <a:pt x="58036" y="4310048"/>
                  </a:lnTo>
                  <a:cubicBezTo>
                    <a:pt x="197935" y="4550245"/>
                    <a:pt x="350594" y="4747142"/>
                    <a:pt x="520779" y="4907591"/>
                  </a:cubicBezTo>
                  <a:cubicBezTo>
                    <a:pt x="763600" y="5136565"/>
                    <a:pt x="1043821" y="5291288"/>
                    <a:pt x="1377154" y="5380604"/>
                  </a:cubicBezTo>
                  <a:cubicBezTo>
                    <a:pt x="1963029" y="5537589"/>
                    <a:pt x="2470519" y="5282804"/>
                    <a:pt x="3123340" y="4905715"/>
                  </a:cubicBezTo>
                  <a:cubicBezTo>
                    <a:pt x="3269800" y="4821157"/>
                    <a:pt x="3411134" y="4747512"/>
                    <a:pt x="3547863" y="4676342"/>
                  </a:cubicBezTo>
                  <a:cubicBezTo>
                    <a:pt x="3804497" y="4542710"/>
                    <a:pt x="4026085" y="4427393"/>
                    <a:pt x="4186753" y="4289376"/>
                  </a:cubicBezTo>
                  <a:cubicBezTo>
                    <a:pt x="4329009" y="4167293"/>
                    <a:pt x="4410589" y="4037181"/>
                    <a:pt x="4459565" y="3854399"/>
                  </a:cubicBezTo>
                  <a:cubicBezTo>
                    <a:pt x="4548302" y="3523229"/>
                    <a:pt x="4568981" y="3185183"/>
                    <a:pt x="4521015" y="2849377"/>
                  </a:cubicBezTo>
                  <a:cubicBezTo>
                    <a:pt x="4474709" y="2524680"/>
                    <a:pt x="4366564" y="2215756"/>
                    <a:pt x="4199723" y="1931213"/>
                  </a:cubicBezTo>
                  <a:cubicBezTo>
                    <a:pt x="3863270" y="1357325"/>
                    <a:pt x="3323982" y="946439"/>
                    <a:pt x="2681217" y="774211"/>
                  </a:cubicBezTo>
                  <a:cubicBezTo>
                    <a:pt x="2001139" y="591984"/>
                    <a:pt x="1476322" y="649699"/>
                    <a:pt x="926547" y="967112"/>
                  </a:cubicBezTo>
                  <a:cubicBezTo>
                    <a:pt x="740730" y="1074393"/>
                    <a:pt x="668642" y="1143989"/>
                    <a:pt x="622677" y="1197863"/>
                  </a:cubicBezTo>
                  <a:cubicBezTo>
                    <a:pt x="555599" y="1276450"/>
                    <a:pt x="492360" y="1390031"/>
                    <a:pt x="404892" y="1547314"/>
                  </a:cubicBezTo>
                  <a:cubicBezTo>
                    <a:pt x="317047" y="1705133"/>
                    <a:pt x="204816" y="1906756"/>
                    <a:pt x="40135" y="2159090"/>
                  </a:cubicBezTo>
                  <a:lnTo>
                    <a:pt x="0" y="2219367"/>
                  </a:lnTo>
                  <a:lnTo>
                    <a:pt x="0" y="915659"/>
                  </a:lnTo>
                  <a:lnTo>
                    <a:pt x="58609" y="828051"/>
                  </a:lnTo>
                  <a:cubicBezTo>
                    <a:pt x="177453" y="670481"/>
                    <a:pt x="325846" y="538291"/>
                    <a:pt x="590688" y="385385"/>
                  </a:cubicBezTo>
                  <a:cubicBezTo>
                    <a:pt x="1032158" y="130559"/>
                    <a:pt x="1474329" y="3750"/>
                    <a:pt x="1951393" y="82"/>
                  </a:cubicBezTo>
                  <a:close/>
                </a:path>
              </a:pathLst>
            </a:custGeom>
            <a:gradFill>
              <a:gsLst>
                <a:gs pos="2000">
                  <a:schemeClr val="bg1">
                    <a:alpha val="10000"/>
                  </a:schemeClr>
                </a:gs>
                <a:gs pos="16000">
                  <a:schemeClr val="accent6">
                    <a:alpha val="10000"/>
                  </a:schemeClr>
                </a:gs>
                <a:gs pos="100000">
                  <a:schemeClr val="bg1">
                    <a:alpha val="10000"/>
                  </a:schemeClr>
                </a:gs>
                <a:gs pos="85000">
                  <a:schemeClr val="accent1">
                    <a:alpha val="10000"/>
                  </a:schemeClr>
                </a:gs>
              </a:gsLst>
              <a:lin ang="12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7" name="Freeform: Shape 16">
              <a:extLst>
                <a:ext uri="{FF2B5EF4-FFF2-40B4-BE49-F238E27FC236}">
                  <a16:creationId xmlns:a16="http://schemas.microsoft.com/office/drawing/2014/main" id="{2A9D1364-B6A3-44CB-9FBA-C528F0CE909D}"/>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19220" y="319367"/>
              <a:ext cx="5217957" cy="6100079"/>
            </a:xfrm>
            <a:custGeom>
              <a:avLst/>
              <a:gdLst>
                <a:gd name="connsiteX0" fmla="*/ 1951394 w 5217957"/>
                <a:gd name="connsiteY0" fmla="*/ 82 h 6100079"/>
                <a:gd name="connsiteX1" fmla="*/ 2855178 w 5217957"/>
                <a:gd name="connsiteY1" fmla="*/ 125419 h 6100079"/>
                <a:gd name="connsiteX2" fmla="*/ 4779341 w 5217957"/>
                <a:gd name="connsiteY2" fmla="*/ 1591542 h 6100079"/>
                <a:gd name="connsiteX3" fmla="*/ 5108574 w 5217957"/>
                <a:gd name="connsiteY3" fmla="*/ 4028416 h 6100079"/>
                <a:gd name="connsiteX4" fmla="*/ 3459359 w 5217957"/>
                <a:gd name="connsiteY4" fmla="*/ 5487716 h 6100079"/>
                <a:gd name="connsiteX5" fmla="*/ 1203275 w 5217957"/>
                <a:gd name="connsiteY5" fmla="*/ 6029534 h 6100079"/>
                <a:gd name="connsiteX6" fmla="*/ 59921 w 5217957"/>
                <a:gd name="connsiteY6" fmla="*/ 5396467 h 6100079"/>
                <a:gd name="connsiteX7" fmla="*/ 0 w 5217957"/>
                <a:gd name="connsiteY7" fmla="*/ 5333381 h 6100079"/>
                <a:gd name="connsiteX8" fmla="*/ 0 w 5217957"/>
                <a:gd name="connsiteY8" fmla="*/ 4427327 h 6100079"/>
                <a:gd name="connsiteX9" fmla="*/ 112056 w 5217957"/>
                <a:gd name="connsiteY9" fmla="*/ 4602502 h 6100079"/>
                <a:gd name="connsiteX10" fmla="*/ 443875 w 5217957"/>
                <a:gd name="connsiteY10" fmla="*/ 4989110 h 6100079"/>
                <a:gd name="connsiteX11" fmla="*/ 1348175 w 5217957"/>
                <a:gd name="connsiteY11" fmla="*/ 5488759 h 6100079"/>
                <a:gd name="connsiteX12" fmla="*/ 2221463 w 5217957"/>
                <a:gd name="connsiteY12" fmla="*/ 5461704 h 6100079"/>
                <a:gd name="connsiteX13" fmla="*/ 3179339 w 5217957"/>
                <a:gd name="connsiteY13" fmla="*/ 5003023 h 6100079"/>
                <a:gd name="connsiteX14" fmla="*/ 3599638 w 5217957"/>
                <a:gd name="connsiteY14" fmla="*/ 4775996 h 6100079"/>
                <a:gd name="connsiteX15" fmla="*/ 4259765 w 5217957"/>
                <a:gd name="connsiteY15" fmla="*/ 4374667 h 6100079"/>
                <a:gd name="connsiteX16" fmla="*/ 4567742 w 5217957"/>
                <a:gd name="connsiteY16" fmla="*/ 3883732 h 6100079"/>
                <a:gd name="connsiteX17" fmla="*/ 4631929 w 5217957"/>
                <a:gd name="connsiteY17" fmla="*/ 2833886 h 6100079"/>
                <a:gd name="connsiteX18" fmla="*/ 4296412 w 5217957"/>
                <a:gd name="connsiteY18" fmla="*/ 1874932 h 6100079"/>
                <a:gd name="connsiteX19" fmla="*/ 2710219 w 5217957"/>
                <a:gd name="connsiteY19" fmla="*/ 666410 h 6100079"/>
                <a:gd name="connsiteX20" fmla="*/ 1732642 w 5217957"/>
                <a:gd name="connsiteY20" fmla="*/ 573480 h 6100079"/>
                <a:gd name="connsiteX21" fmla="*/ 870621 w 5217957"/>
                <a:gd name="connsiteY21" fmla="*/ 870402 h 6100079"/>
                <a:gd name="connsiteX22" fmla="*/ 537555 w 5217957"/>
                <a:gd name="connsiteY22" fmla="*/ 1125324 h 6100079"/>
                <a:gd name="connsiteX23" fmla="*/ 306995 w 5217957"/>
                <a:gd name="connsiteY23" fmla="*/ 1493030 h 6100079"/>
                <a:gd name="connsiteX24" fmla="*/ 23579 w 5217957"/>
                <a:gd name="connsiteY24" fmla="*/ 1977465 h 6100079"/>
                <a:gd name="connsiteX25" fmla="*/ 0 w 5217957"/>
                <a:gd name="connsiteY25" fmla="*/ 2014291 h 6100079"/>
                <a:gd name="connsiteX26" fmla="*/ 0 w 5217957"/>
                <a:gd name="connsiteY26" fmla="*/ 915660 h 6100079"/>
                <a:gd name="connsiteX27" fmla="*/ 58609 w 5217957"/>
                <a:gd name="connsiteY27" fmla="*/ 828051 h 6100079"/>
                <a:gd name="connsiteX28" fmla="*/ 590689 w 5217957"/>
                <a:gd name="connsiteY28" fmla="*/ 385385 h 6100079"/>
                <a:gd name="connsiteX29" fmla="*/ 1951394 w 5217957"/>
                <a:gd name="connsiteY29" fmla="*/ 82 h 61000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217957" h="6100079">
                  <a:moveTo>
                    <a:pt x="1951394" y="82"/>
                  </a:moveTo>
                  <a:cubicBezTo>
                    <a:pt x="2237632" y="-2119"/>
                    <a:pt x="2536431" y="40011"/>
                    <a:pt x="2855178" y="125419"/>
                  </a:cubicBezTo>
                  <a:cubicBezTo>
                    <a:pt x="3697704" y="351173"/>
                    <a:pt x="4370491" y="894159"/>
                    <a:pt x="4779341" y="1591542"/>
                  </a:cubicBezTo>
                  <a:cubicBezTo>
                    <a:pt x="5195535" y="2301324"/>
                    <a:pt x="5338357" y="3170855"/>
                    <a:pt x="5108574" y="4028416"/>
                  </a:cubicBezTo>
                  <a:cubicBezTo>
                    <a:pt x="4880820" y="4878406"/>
                    <a:pt x="4165604" y="5079965"/>
                    <a:pt x="3459359" y="5487716"/>
                  </a:cubicBezTo>
                  <a:cubicBezTo>
                    <a:pt x="2753115" y="5895466"/>
                    <a:pt x="2053265" y="6257288"/>
                    <a:pt x="1203275" y="6029534"/>
                  </a:cubicBezTo>
                  <a:cubicBezTo>
                    <a:pt x="739885" y="5905369"/>
                    <a:pt x="366400" y="5685345"/>
                    <a:pt x="59921" y="5396467"/>
                  </a:cubicBezTo>
                  <a:lnTo>
                    <a:pt x="0" y="5333381"/>
                  </a:lnTo>
                  <a:lnTo>
                    <a:pt x="0" y="4427327"/>
                  </a:lnTo>
                  <a:lnTo>
                    <a:pt x="112056" y="4602502"/>
                  </a:lnTo>
                  <a:cubicBezTo>
                    <a:pt x="215300" y="4749260"/>
                    <a:pt x="325419" y="4877443"/>
                    <a:pt x="443875" y="4989110"/>
                  </a:cubicBezTo>
                  <a:cubicBezTo>
                    <a:pt x="700709" y="5231113"/>
                    <a:pt x="996455" y="5394516"/>
                    <a:pt x="1348175" y="5488759"/>
                  </a:cubicBezTo>
                  <a:cubicBezTo>
                    <a:pt x="1633379" y="5565179"/>
                    <a:pt x="1910917" y="5556430"/>
                    <a:pt x="2221463" y="5461704"/>
                  </a:cubicBezTo>
                  <a:cubicBezTo>
                    <a:pt x="2541923" y="5363721"/>
                    <a:pt x="2870374" y="5181404"/>
                    <a:pt x="3179339" y="5003023"/>
                  </a:cubicBezTo>
                  <a:cubicBezTo>
                    <a:pt x="3323713" y="4919760"/>
                    <a:pt x="3463978" y="4846641"/>
                    <a:pt x="3599638" y="4775996"/>
                  </a:cubicBezTo>
                  <a:cubicBezTo>
                    <a:pt x="3862436" y="4639263"/>
                    <a:pt x="4089314" y="4521074"/>
                    <a:pt x="4259765" y="4374667"/>
                  </a:cubicBezTo>
                  <a:cubicBezTo>
                    <a:pt x="4418282" y="4238625"/>
                    <a:pt x="4513201" y="4087280"/>
                    <a:pt x="4567742" y="3883732"/>
                  </a:cubicBezTo>
                  <a:cubicBezTo>
                    <a:pt x="4660420" y="3537853"/>
                    <a:pt x="4682033" y="3184640"/>
                    <a:pt x="4631929" y="2833886"/>
                  </a:cubicBezTo>
                  <a:cubicBezTo>
                    <a:pt x="4583584" y="2494734"/>
                    <a:pt x="4470646" y="2172121"/>
                    <a:pt x="4296412" y="1874932"/>
                  </a:cubicBezTo>
                  <a:cubicBezTo>
                    <a:pt x="3944879" y="1275559"/>
                    <a:pt x="3381537" y="846289"/>
                    <a:pt x="2710219" y="666410"/>
                  </a:cubicBezTo>
                  <a:cubicBezTo>
                    <a:pt x="2349955" y="569877"/>
                    <a:pt x="2030161" y="539483"/>
                    <a:pt x="1732642" y="573480"/>
                  </a:cubicBezTo>
                  <a:cubicBezTo>
                    <a:pt x="1440866" y="606814"/>
                    <a:pt x="1158880" y="703976"/>
                    <a:pt x="870621" y="870402"/>
                  </a:cubicBezTo>
                  <a:cubicBezTo>
                    <a:pt x="670160" y="986048"/>
                    <a:pt x="589753" y="1064195"/>
                    <a:pt x="537555" y="1125324"/>
                  </a:cubicBezTo>
                  <a:cubicBezTo>
                    <a:pt x="463218" y="1212400"/>
                    <a:pt x="397708" y="1330125"/>
                    <a:pt x="306995" y="1493030"/>
                  </a:cubicBezTo>
                  <a:cubicBezTo>
                    <a:pt x="234596" y="1623167"/>
                    <a:pt x="145436" y="1783409"/>
                    <a:pt x="23579" y="1977465"/>
                  </a:cubicBezTo>
                  <a:lnTo>
                    <a:pt x="0" y="2014291"/>
                  </a:lnTo>
                  <a:lnTo>
                    <a:pt x="0" y="915660"/>
                  </a:lnTo>
                  <a:lnTo>
                    <a:pt x="58609" y="828051"/>
                  </a:lnTo>
                  <a:cubicBezTo>
                    <a:pt x="177453" y="670481"/>
                    <a:pt x="325847" y="538291"/>
                    <a:pt x="590689" y="385385"/>
                  </a:cubicBezTo>
                  <a:cubicBezTo>
                    <a:pt x="1032159" y="130559"/>
                    <a:pt x="1474330" y="3750"/>
                    <a:pt x="1951394" y="82"/>
                  </a:cubicBezTo>
                  <a:close/>
                </a:path>
              </a:pathLst>
            </a:custGeom>
            <a:gradFill>
              <a:gsLst>
                <a:gs pos="2000">
                  <a:schemeClr val="bg1">
                    <a:alpha val="10000"/>
                  </a:schemeClr>
                </a:gs>
                <a:gs pos="16000">
                  <a:schemeClr val="accent6">
                    <a:alpha val="10000"/>
                  </a:schemeClr>
                </a:gs>
                <a:gs pos="100000">
                  <a:schemeClr val="bg1">
                    <a:alpha val="10000"/>
                  </a:schemeClr>
                </a:gs>
                <a:gs pos="85000">
                  <a:schemeClr val="accent1">
                    <a:alpha val="10000"/>
                  </a:schemeClr>
                </a:gs>
              </a:gsLst>
              <a:lin ang="12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2" name="Title 1">
            <a:extLst>
              <a:ext uri="{FF2B5EF4-FFF2-40B4-BE49-F238E27FC236}">
                <a16:creationId xmlns:a16="http://schemas.microsoft.com/office/drawing/2014/main" id="{B5B8DF54-BBC5-4052-B7B0-72D517046C9C}"/>
              </a:ext>
            </a:extLst>
          </p:cNvPr>
          <p:cNvSpPr>
            <a:spLocks noGrp="1"/>
          </p:cNvSpPr>
          <p:nvPr>
            <p:ph type="title"/>
          </p:nvPr>
        </p:nvSpPr>
        <p:spPr>
          <a:xfrm>
            <a:off x="431486" y="1441113"/>
            <a:ext cx="4733849" cy="4371974"/>
          </a:xfrm>
        </p:spPr>
        <p:txBody>
          <a:bodyPr>
            <a:normAutofit/>
          </a:bodyPr>
          <a:lstStyle/>
          <a:p>
            <a:r>
              <a:rPr lang="en-US" sz="3600" dirty="0">
                <a:solidFill>
                  <a:schemeClr val="tx2"/>
                </a:solidFill>
              </a:rPr>
              <a:t>IAB Focuses for 2024</a:t>
            </a:r>
          </a:p>
        </p:txBody>
      </p:sp>
      <p:sp>
        <p:nvSpPr>
          <p:cNvPr id="3" name="Content Placeholder 2">
            <a:extLst>
              <a:ext uri="{FF2B5EF4-FFF2-40B4-BE49-F238E27FC236}">
                <a16:creationId xmlns:a16="http://schemas.microsoft.com/office/drawing/2014/main" id="{7037A565-54F4-41F9-8BDB-79DFE1E30C7C}"/>
              </a:ext>
            </a:extLst>
          </p:cNvPr>
          <p:cNvSpPr>
            <a:spLocks noGrp="1"/>
          </p:cNvSpPr>
          <p:nvPr>
            <p:ph idx="1"/>
          </p:nvPr>
        </p:nvSpPr>
        <p:spPr>
          <a:xfrm>
            <a:off x="6095847" y="333331"/>
            <a:ext cx="5221224" cy="5551677"/>
          </a:xfrm>
        </p:spPr>
        <p:txBody>
          <a:bodyPr anchor="ctr">
            <a:normAutofit fontScale="85000" lnSpcReduction="10000"/>
          </a:bodyPr>
          <a:lstStyle/>
          <a:p>
            <a:r>
              <a:rPr lang="en-US" sz="3200" dirty="0">
                <a:solidFill>
                  <a:schemeClr val="tx2"/>
                </a:solidFill>
              </a:rPr>
              <a:t>Maintain programming &amp; awards support </a:t>
            </a:r>
            <a:r>
              <a:rPr lang="en-US" sz="3200" u="sng" dirty="0">
                <a:solidFill>
                  <a:schemeClr val="tx2"/>
                </a:solidFill>
              </a:rPr>
              <a:t>within budget</a:t>
            </a:r>
          </a:p>
          <a:p>
            <a:r>
              <a:rPr lang="en-US" sz="3200" dirty="0">
                <a:solidFill>
                  <a:schemeClr val="tx2"/>
                </a:solidFill>
              </a:rPr>
              <a:t>Deliver on member company initiatives</a:t>
            </a:r>
          </a:p>
          <a:p>
            <a:pPr lvl="1"/>
            <a:r>
              <a:rPr lang="en-US" sz="3200" dirty="0">
                <a:solidFill>
                  <a:schemeClr val="tx2"/>
                </a:solidFill>
              </a:rPr>
              <a:t>IAB Networking Sessions</a:t>
            </a:r>
          </a:p>
          <a:p>
            <a:pPr lvl="1"/>
            <a:r>
              <a:rPr lang="en-US" sz="3200" dirty="0">
                <a:solidFill>
                  <a:schemeClr val="tx2"/>
                </a:solidFill>
              </a:rPr>
              <a:t>IAB meeting</a:t>
            </a:r>
          </a:p>
          <a:p>
            <a:r>
              <a:rPr lang="en-US" sz="3200" dirty="0">
                <a:solidFill>
                  <a:schemeClr val="tx2"/>
                </a:solidFill>
              </a:rPr>
              <a:t>Integrate smaller company members </a:t>
            </a:r>
            <a:r>
              <a:rPr lang="en-US" sz="3200" u="sng" dirty="0">
                <a:solidFill>
                  <a:schemeClr val="tx2"/>
                </a:solidFill>
              </a:rPr>
              <a:t>while retaining long term larger member companies</a:t>
            </a:r>
          </a:p>
          <a:p>
            <a:r>
              <a:rPr lang="en-US" sz="3200" dirty="0">
                <a:solidFill>
                  <a:schemeClr val="tx2"/>
                </a:solidFill>
              </a:rPr>
              <a:t>Understanding value POLY and IAB provide in long-term hybrid environment</a:t>
            </a:r>
          </a:p>
          <a:p>
            <a:pPr lvl="1"/>
            <a:r>
              <a:rPr lang="en-US" sz="2800" dirty="0">
                <a:solidFill>
                  <a:schemeClr val="tx2"/>
                </a:solidFill>
              </a:rPr>
              <a:t>How to balance representing IAB member companies with generally representing “Industry” in POLY</a:t>
            </a:r>
          </a:p>
        </p:txBody>
      </p:sp>
      <p:sp>
        <p:nvSpPr>
          <p:cNvPr id="4" name="Footer Placeholder 3">
            <a:extLst>
              <a:ext uri="{FF2B5EF4-FFF2-40B4-BE49-F238E27FC236}">
                <a16:creationId xmlns:a16="http://schemas.microsoft.com/office/drawing/2014/main" id="{2EEB2D97-3CB9-4106-A317-1C9790CC2578}"/>
              </a:ext>
            </a:extLst>
          </p:cNvPr>
          <p:cNvSpPr>
            <a:spLocks noGrp="1"/>
          </p:cNvSpPr>
          <p:nvPr>
            <p:ph type="ftr" sz="quarter" idx="11"/>
          </p:nvPr>
        </p:nvSpPr>
        <p:spPr>
          <a:xfrm>
            <a:off x="4038600" y="6356350"/>
            <a:ext cx="4114800" cy="365125"/>
          </a:xfrm>
        </p:spPr>
        <p:txBody>
          <a:bodyPr>
            <a:normAutofit/>
          </a:bodyPr>
          <a:lstStyle/>
          <a:p>
            <a:endParaRPr lang="en-US" dirty="0"/>
          </a:p>
        </p:txBody>
      </p:sp>
    </p:spTree>
    <p:extLst>
      <p:ext uri="{BB962C8B-B14F-4D97-AF65-F5344CB8AC3E}">
        <p14:creationId xmlns:p14="http://schemas.microsoft.com/office/powerpoint/2010/main" val="396423259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03E0DFA-32B9-2C1F-9F4C-DA5D19DCC0EE}"/>
              </a:ext>
            </a:extLst>
          </p:cNvPr>
          <p:cNvSpPr>
            <a:spLocks noGrp="1"/>
          </p:cNvSpPr>
          <p:nvPr>
            <p:ph type="title"/>
          </p:nvPr>
        </p:nvSpPr>
        <p:spPr>
          <a:xfrm>
            <a:off x="514903" y="-257452"/>
            <a:ext cx="10515600" cy="1325563"/>
          </a:xfrm>
        </p:spPr>
        <p:txBody>
          <a:bodyPr/>
          <a:lstStyle/>
          <a:p>
            <a:r>
              <a:rPr lang="en-US" dirty="0"/>
              <a:t>Budget</a:t>
            </a:r>
          </a:p>
        </p:txBody>
      </p:sp>
      <p:sp>
        <p:nvSpPr>
          <p:cNvPr id="6" name="Footer Placeholder 5">
            <a:extLst>
              <a:ext uri="{FF2B5EF4-FFF2-40B4-BE49-F238E27FC236}">
                <a16:creationId xmlns:a16="http://schemas.microsoft.com/office/drawing/2014/main" id="{912DD344-2CBC-AD8E-0366-5533EADC4472}"/>
              </a:ext>
            </a:extLst>
          </p:cNvPr>
          <p:cNvSpPr>
            <a:spLocks noGrp="1"/>
          </p:cNvSpPr>
          <p:nvPr>
            <p:ph type="ftr" sz="quarter" idx="11"/>
          </p:nvPr>
        </p:nvSpPr>
        <p:spPr/>
        <p:txBody>
          <a:bodyPr/>
          <a:lstStyle/>
          <a:p>
            <a:endParaRPr lang="en-US" dirty="0"/>
          </a:p>
        </p:txBody>
      </p:sp>
      <p:sp>
        <p:nvSpPr>
          <p:cNvPr id="4" name="Content Placeholder 3">
            <a:extLst>
              <a:ext uri="{FF2B5EF4-FFF2-40B4-BE49-F238E27FC236}">
                <a16:creationId xmlns:a16="http://schemas.microsoft.com/office/drawing/2014/main" id="{EF3C22C8-D69B-CF03-F3FD-AA84F1CBEFBB}"/>
              </a:ext>
            </a:extLst>
          </p:cNvPr>
          <p:cNvSpPr>
            <a:spLocks noGrp="1"/>
          </p:cNvSpPr>
          <p:nvPr>
            <p:ph idx="1"/>
          </p:nvPr>
        </p:nvSpPr>
        <p:spPr>
          <a:xfrm>
            <a:off x="838200" y="1253331"/>
            <a:ext cx="10515600" cy="4351338"/>
          </a:xfrm>
        </p:spPr>
        <p:txBody>
          <a:bodyPr/>
          <a:lstStyle/>
          <a:p>
            <a:r>
              <a:rPr lang="en-US" dirty="0"/>
              <a:t>Income on track with member company dues at 50% of completion vs. 2023</a:t>
            </a:r>
          </a:p>
          <a:p>
            <a:pPr lvl="1"/>
            <a:r>
              <a:rPr lang="en-US" dirty="0"/>
              <a:t>Multiple new companies welcomed!</a:t>
            </a:r>
          </a:p>
          <a:p>
            <a:pPr lvl="1"/>
            <a:r>
              <a:rPr lang="en-US" dirty="0"/>
              <a:t>~$9k collected and $10k outstanding</a:t>
            </a:r>
          </a:p>
          <a:p>
            <a:r>
              <a:rPr lang="en-US" dirty="0"/>
              <a:t>Working on budget control and planning</a:t>
            </a:r>
          </a:p>
          <a:p>
            <a:pPr lvl="1"/>
            <a:r>
              <a:rPr lang="en-US" dirty="0"/>
              <a:t>No AV Spring meeting well received and avoided potential inadvertent AV invoicing- planning to continue in Fall meeting</a:t>
            </a:r>
          </a:p>
          <a:p>
            <a:pPr lvl="1"/>
            <a:r>
              <a:rPr lang="en-US" dirty="0"/>
              <a:t>Holding off on 2025 symposium and award commitments until reassured of member company support</a:t>
            </a:r>
          </a:p>
        </p:txBody>
      </p:sp>
    </p:spTree>
    <p:extLst>
      <p:ext uri="{BB962C8B-B14F-4D97-AF65-F5344CB8AC3E}">
        <p14:creationId xmlns:p14="http://schemas.microsoft.com/office/powerpoint/2010/main" val="163971537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03E0DFA-32B9-2C1F-9F4C-DA5D19DCC0EE}"/>
              </a:ext>
            </a:extLst>
          </p:cNvPr>
          <p:cNvSpPr>
            <a:spLocks noGrp="1"/>
          </p:cNvSpPr>
          <p:nvPr>
            <p:ph type="title"/>
          </p:nvPr>
        </p:nvSpPr>
        <p:spPr>
          <a:xfrm>
            <a:off x="514903" y="-257452"/>
            <a:ext cx="10515600" cy="1325563"/>
          </a:xfrm>
        </p:spPr>
        <p:txBody>
          <a:bodyPr/>
          <a:lstStyle/>
          <a:p>
            <a:r>
              <a:rPr lang="en-US" dirty="0"/>
              <a:t>Budget- Expenses</a:t>
            </a:r>
          </a:p>
        </p:txBody>
      </p:sp>
      <p:graphicFrame>
        <p:nvGraphicFramePr>
          <p:cNvPr id="5" name="Content Placeholder 4">
            <a:extLst>
              <a:ext uri="{FF2B5EF4-FFF2-40B4-BE49-F238E27FC236}">
                <a16:creationId xmlns:a16="http://schemas.microsoft.com/office/drawing/2014/main" id="{06821F7C-AE73-13A1-254A-6BAB08D1191E}"/>
              </a:ext>
            </a:extLst>
          </p:cNvPr>
          <p:cNvGraphicFramePr>
            <a:graphicFrameLocks noGrp="1"/>
          </p:cNvGraphicFramePr>
          <p:nvPr>
            <p:ph idx="1"/>
            <p:extLst>
              <p:ext uri="{D42A27DB-BD31-4B8C-83A1-F6EECF244321}">
                <p14:modId xmlns:p14="http://schemas.microsoft.com/office/powerpoint/2010/main" val="2867847422"/>
              </p:ext>
            </p:extLst>
          </p:nvPr>
        </p:nvGraphicFramePr>
        <p:xfrm>
          <a:off x="514904" y="740934"/>
          <a:ext cx="10656305" cy="6024033"/>
        </p:xfrm>
        <a:graphic>
          <a:graphicData uri="http://schemas.openxmlformats.org/drawingml/2006/table">
            <a:tbl>
              <a:tblPr/>
              <a:tblGrid>
                <a:gridCol w="4221470">
                  <a:extLst>
                    <a:ext uri="{9D8B030D-6E8A-4147-A177-3AD203B41FA5}">
                      <a16:colId xmlns:a16="http://schemas.microsoft.com/office/drawing/2014/main" val="2122437546"/>
                    </a:ext>
                  </a:extLst>
                </a:gridCol>
                <a:gridCol w="2196373">
                  <a:extLst>
                    <a:ext uri="{9D8B030D-6E8A-4147-A177-3AD203B41FA5}">
                      <a16:colId xmlns:a16="http://schemas.microsoft.com/office/drawing/2014/main" val="3964985441"/>
                    </a:ext>
                  </a:extLst>
                </a:gridCol>
                <a:gridCol w="2119231">
                  <a:extLst>
                    <a:ext uri="{9D8B030D-6E8A-4147-A177-3AD203B41FA5}">
                      <a16:colId xmlns:a16="http://schemas.microsoft.com/office/drawing/2014/main" val="838314380"/>
                    </a:ext>
                  </a:extLst>
                </a:gridCol>
                <a:gridCol w="2119231">
                  <a:extLst>
                    <a:ext uri="{9D8B030D-6E8A-4147-A177-3AD203B41FA5}">
                      <a16:colId xmlns:a16="http://schemas.microsoft.com/office/drawing/2014/main" val="2417980285"/>
                    </a:ext>
                  </a:extLst>
                </a:gridCol>
              </a:tblGrid>
              <a:tr h="239230">
                <a:tc>
                  <a:txBody>
                    <a:bodyPr/>
                    <a:lstStyle/>
                    <a:p>
                      <a:pPr algn="l" fontAlgn="b"/>
                      <a:r>
                        <a:rPr lang="en-US" sz="1400" b="1" i="0" u="none" strike="noStrike" dirty="0">
                          <a:solidFill>
                            <a:schemeClr val="bg1"/>
                          </a:solidFill>
                          <a:effectLst/>
                          <a:latin typeface="Arial" panose="020B0604020202020204" pitchFamily="34" charset="0"/>
                        </a:rPr>
                        <a:t>Activity</a:t>
                      </a:r>
                    </a:p>
                  </a:txBody>
                  <a:tcPr marL="6885" marR="6885" marT="688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fontAlgn="b"/>
                      <a:r>
                        <a:rPr lang="en-US" sz="1400" b="1" i="0" u="none" strike="noStrike" dirty="0">
                          <a:solidFill>
                            <a:schemeClr val="bg1"/>
                          </a:solidFill>
                          <a:effectLst/>
                          <a:latin typeface="Arial" panose="020B0604020202020204" pitchFamily="34" charset="0"/>
                        </a:rPr>
                        <a:t>Category</a:t>
                      </a:r>
                    </a:p>
                  </a:txBody>
                  <a:tcPr marL="6885" marR="6885" marT="688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r" fontAlgn="b"/>
                      <a:r>
                        <a:rPr lang="en-US" sz="1400" b="1" i="0" u="none" strike="noStrike" dirty="0">
                          <a:solidFill>
                            <a:schemeClr val="bg1"/>
                          </a:solidFill>
                          <a:effectLst/>
                          <a:latin typeface="Arial" panose="020B0604020202020204" pitchFamily="34" charset="0"/>
                        </a:rPr>
                        <a:t>Planned 2024</a:t>
                      </a:r>
                    </a:p>
                  </a:txBody>
                  <a:tcPr marL="6885" marR="6885" marT="688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r" fontAlgn="b"/>
                      <a:r>
                        <a:rPr lang="en-US" sz="1400" b="1" i="0" u="none" strike="noStrike" dirty="0">
                          <a:solidFill>
                            <a:schemeClr val="bg1"/>
                          </a:solidFill>
                          <a:effectLst/>
                          <a:latin typeface="Arial" panose="020B0604020202020204" pitchFamily="34" charset="0"/>
                        </a:rPr>
                        <a:t>Actual 2024 </a:t>
                      </a:r>
                    </a:p>
                  </a:txBody>
                  <a:tcPr marL="6885" marR="6885" marT="688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extLst>
                  <a:ext uri="{0D108BD9-81ED-4DB2-BD59-A6C34878D82A}">
                    <a16:rowId xmlns:a16="http://schemas.microsoft.com/office/drawing/2014/main" val="1804477325"/>
                  </a:ext>
                </a:extLst>
              </a:tr>
              <a:tr h="187845">
                <a:tc>
                  <a:txBody>
                    <a:bodyPr/>
                    <a:lstStyle/>
                    <a:p>
                      <a:pPr algn="l" fontAlgn="b"/>
                      <a:r>
                        <a:rPr lang="en-US" sz="1400" b="0" i="0" u="none" strike="noStrike" dirty="0">
                          <a:solidFill>
                            <a:schemeClr val="tx1"/>
                          </a:solidFill>
                          <a:effectLst/>
                          <a:latin typeface="Arial" panose="020B0604020202020204" pitchFamily="34" charset="0"/>
                        </a:rPr>
                        <a:t>Spring Networking </a:t>
                      </a:r>
                    </a:p>
                  </a:txBody>
                  <a:tcPr marL="6885" marR="6885" marT="688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400" b="0" i="0" u="none" strike="noStrike">
                          <a:solidFill>
                            <a:schemeClr val="bg1"/>
                          </a:solidFill>
                          <a:effectLst/>
                          <a:latin typeface="Arial" panose="020B0604020202020204" pitchFamily="34" charset="0"/>
                        </a:rPr>
                        <a:t>Networking</a:t>
                      </a:r>
                    </a:p>
                  </a:txBody>
                  <a:tcPr marL="6885" marR="6885" marT="688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8E7CC3"/>
                    </a:solidFill>
                  </a:tcPr>
                </a:tc>
                <a:tc>
                  <a:txBody>
                    <a:bodyPr/>
                    <a:lstStyle/>
                    <a:p>
                      <a:pPr algn="r" fontAlgn="b"/>
                      <a:r>
                        <a:rPr lang="en-US" sz="1400" b="0" i="0" u="none" strike="noStrike" kern="1200" dirty="0">
                          <a:solidFill>
                            <a:schemeClr val="tx1"/>
                          </a:solidFill>
                          <a:effectLst/>
                          <a:latin typeface="Arial" panose="020B0604020202020204" pitchFamily="34" charset="0"/>
                          <a:ea typeface="+mn-ea"/>
                          <a:cs typeface="+mn-cs"/>
                        </a:rPr>
                        <a:t>$3,500.00</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400" b="0" i="0" u="none" strike="noStrike" kern="1200" dirty="0">
                          <a:solidFill>
                            <a:schemeClr val="tx1"/>
                          </a:solidFill>
                          <a:effectLst/>
                          <a:latin typeface="Arial" panose="020B0604020202020204" pitchFamily="34" charset="0"/>
                          <a:ea typeface="+mn-ea"/>
                          <a:cs typeface="+mn-cs"/>
                        </a:rPr>
                        <a:t>$5,206</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490521752"/>
                  </a:ext>
                </a:extLst>
              </a:tr>
              <a:tr h="198544">
                <a:tc>
                  <a:txBody>
                    <a:bodyPr/>
                    <a:lstStyle/>
                    <a:p>
                      <a:pPr algn="l" fontAlgn="b"/>
                      <a:r>
                        <a:rPr lang="en-US" sz="1400" b="0" i="0" u="none" strike="noStrike" dirty="0">
                          <a:solidFill>
                            <a:schemeClr val="tx1"/>
                          </a:solidFill>
                          <a:effectLst/>
                          <a:latin typeface="Arial" panose="020B0604020202020204" pitchFamily="34" charset="0"/>
                        </a:rPr>
                        <a:t>Fall Networking </a:t>
                      </a:r>
                    </a:p>
                  </a:txBody>
                  <a:tcPr marL="6885" marR="6885" marT="688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400" b="0" i="0" u="none" strike="noStrike" dirty="0">
                          <a:solidFill>
                            <a:schemeClr val="bg1"/>
                          </a:solidFill>
                          <a:effectLst/>
                          <a:latin typeface="Arial" panose="020B0604020202020204" pitchFamily="34" charset="0"/>
                        </a:rPr>
                        <a:t>Networking</a:t>
                      </a:r>
                    </a:p>
                  </a:txBody>
                  <a:tcPr marL="6885" marR="6885" marT="688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8E7CC3"/>
                    </a:solidFill>
                  </a:tcPr>
                </a:tc>
                <a:tc>
                  <a:txBody>
                    <a:bodyPr/>
                    <a:lstStyle/>
                    <a:p>
                      <a:pPr algn="r" fontAlgn="b"/>
                      <a:r>
                        <a:rPr lang="en-US" sz="1400" b="0" i="0" u="none" strike="noStrike" kern="1200" dirty="0">
                          <a:solidFill>
                            <a:schemeClr val="tx1"/>
                          </a:solidFill>
                          <a:effectLst/>
                          <a:latin typeface="Arial" panose="020B0604020202020204" pitchFamily="34" charset="0"/>
                          <a:ea typeface="+mn-ea"/>
                          <a:cs typeface="+mn-cs"/>
                        </a:rPr>
                        <a:t>$3,500.00</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endParaRPr lang="en-US" sz="1400" b="0" i="0" u="none" strike="noStrike" kern="1200" dirty="0">
                        <a:solidFill>
                          <a:schemeClr val="tx1"/>
                        </a:solidFill>
                        <a:effectLst/>
                        <a:latin typeface="Arial" panose="020B0604020202020204" pitchFamily="34" charset="0"/>
                        <a:ea typeface="+mn-ea"/>
                        <a:cs typeface="+mn-cs"/>
                      </a:endParaRP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325762108"/>
                  </a:ext>
                </a:extLst>
              </a:tr>
              <a:tr h="198544">
                <a:tc>
                  <a:txBody>
                    <a:bodyPr/>
                    <a:lstStyle/>
                    <a:p>
                      <a:pPr algn="l" fontAlgn="b"/>
                      <a:r>
                        <a:rPr lang="en-US" sz="1400" b="0" i="0" u="none" strike="noStrike">
                          <a:solidFill>
                            <a:schemeClr val="tx1"/>
                          </a:solidFill>
                          <a:effectLst/>
                          <a:latin typeface="Arial" panose="020B0604020202020204" pitchFamily="34" charset="0"/>
                        </a:rPr>
                        <a:t>Spring Breakfast</a:t>
                      </a:r>
                    </a:p>
                  </a:txBody>
                  <a:tcPr marL="6885" marR="6885" marT="688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400" b="0" i="0" u="none" strike="noStrike">
                          <a:solidFill>
                            <a:schemeClr val="bg1"/>
                          </a:solidFill>
                          <a:effectLst/>
                          <a:latin typeface="Arial" panose="020B0604020202020204" pitchFamily="34" charset="0"/>
                        </a:rPr>
                        <a:t>Meetings</a:t>
                      </a:r>
                    </a:p>
                  </a:txBody>
                  <a:tcPr marL="6885" marR="6885" marT="688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r" fontAlgn="b"/>
                      <a:r>
                        <a:rPr lang="en-US" sz="1400" b="0" i="0" u="none" strike="noStrike" kern="1200">
                          <a:solidFill>
                            <a:schemeClr val="tx1"/>
                          </a:solidFill>
                          <a:effectLst/>
                          <a:latin typeface="Arial" panose="020B0604020202020204" pitchFamily="34" charset="0"/>
                          <a:ea typeface="+mn-ea"/>
                          <a:cs typeface="+mn-cs"/>
                        </a:rPr>
                        <a:t>$2,500.00</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400" b="0" i="0" u="none" strike="noStrike" kern="1200" dirty="0">
                          <a:solidFill>
                            <a:schemeClr val="tx1"/>
                          </a:solidFill>
                          <a:effectLst/>
                          <a:latin typeface="Arial" panose="020B0604020202020204" pitchFamily="34" charset="0"/>
                          <a:ea typeface="+mn-ea"/>
                          <a:cs typeface="+mn-cs"/>
                        </a:rPr>
                        <a:t>$1,358</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933423392"/>
                  </a:ext>
                </a:extLst>
              </a:tr>
              <a:tr h="198544">
                <a:tc>
                  <a:txBody>
                    <a:bodyPr/>
                    <a:lstStyle/>
                    <a:p>
                      <a:pPr algn="l" fontAlgn="b"/>
                      <a:r>
                        <a:rPr lang="en-US" sz="1400" b="0" i="0" u="none" strike="noStrike">
                          <a:solidFill>
                            <a:schemeClr val="tx1"/>
                          </a:solidFill>
                          <a:effectLst/>
                          <a:latin typeface="Arial" panose="020B0604020202020204" pitchFamily="34" charset="0"/>
                        </a:rPr>
                        <a:t>Fall Breakfast</a:t>
                      </a:r>
                    </a:p>
                  </a:txBody>
                  <a:tcPr marL="6885" marR="6885" marT="688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400" b="0" i="0" u="none" strike="noStrike">
                          <a:solidFill>
                            <a:schemeClr val="bg1"/>
                          </a:solidFill>
                          <a:effectLst/>
                          <a:latin typeface="Arial" panose="020B0604020202020204" pitchFamily="34" charset="0"/>
                        </a:rPr>
                        <a:t>Meetings</a:t>
                      </a:r>
                    </a:p>
                  </a:txBody>
                  <a:tcPr marL="6885" marR="6885" marT="688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r" fontAlgn="b"/>
                      <a:r>
                        <a:rPr lang="en-US" sz="1400" b="0" i="0" u="none" strike="noStrike" kern="1200">
                          <a:solidFill>
                            <a:schemeClr val="tx1"/>
                          </a:solidFill>
                          <a:effectLst/>
                          <a:latin typeface="Arial" panose="020B0604020202020204" pitchFamily="34" charset="0"/>
                          <a:ea typeface="+mn-ea"/>
                          <a:cs typeface="+mn-cs"/>
                        </a:rPr>
                        <a:t>$2,500.00</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endParaRPr lang="en-US" sz="1400" b="0" i="0" u="none" strike="noStrike" kern="1200" dirty="0">
                        <a:solidFill>
                          <a:schemeClr val="tx1"/>
                        </a:solidFill>
                        <a:effectLst/>
                        <a:latin typeface="Arial" panose="020B0604020202020204" pitchFamily="34" charset="0"/>
                        <a:ea typeface="+mn-ea"/>
                        <a:cs typeface="+mn-cs"/>
                      </a:endParaRP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463170126"/>
                  </a:ext>
                </a:extLst>
              </a:tr>
              <a:tr h="198544">
                <a:tc>
                  <a:txBody>
                    <a:bodyPr/>
                    <a:lstStyle/>
                    <a:p>
                      <a:pPr algn="l" fontAlgn="b"/>
                      <a:r>
                        <a:rPr lang="en-US" sz="1400" b="0" i="0" u="none" strike="noStrike">
                          <a:solidFill>
                            <a:schemeClr val="tx1"/>
                          </a:solidFill>
                          <a:effectLst/>
                          <a:latin typeface="Arial" panose="020B0604020202020204" pitchFamily="34" charset="0"/>
                        </a:rPr>
                        <a:t>Staff travel support</a:t>
                      </a:r>
                    </a:p>
                  </a:txBody>
                  <a:tcPr marL="6885" marR="6885" marT="688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400" b="0" i="0" u="none" strike="noStrike">
                          <a:solidFill>
                            <a:schemeClr val="bg1"/>
                          </a:solidFill>
                          <a:effectLst/>
                          <a:latin typeface="Arial" panose="020B0604020202020204" pitchFamily="34" charset="0"/>
                        </a:rPr>
                        <a:t>Meetings</a:t>
                      </a:r>
                    </a:p>
                  </a:txBody>
                  <a:tcPr marL="6885" marR="6885" marT="688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r" fontAlgn="b"/>
                      <a:r>
                        <a:rPr lang="en-US" sz="1400" b="0" i="0" u="none" strike="noStrike" kern="1200">
                          <a:solidFill>
                            <a:schemeClr val="tx1"/>
                          </a:solidFill>
                          <a:effectLst/>
                          <a:latin typeface="Arial" panose="020B0604020202020204" pitchFamily="34" charset="0"/>
                          <a:ea typeface="+mn-ea"/>
                          <a:cs typeface="+mn-cs"/>
                        </a:rPr>
                        <a:t>$0.00</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endParaRPr lang="en-US" sz="1400" b="0" i="0" u="none" strike="noStrike" kern="1200" dirty="0">
                        <a:solidFill>
                          <a:schemeClr val="tx1"/>
                        </a:solidFill>
                        <a:effectLst/>
                        <a:latin typeface="Arial" panose="020B0604020202020204" pitchFamily="34" charset="0"/>
                        <a:ea typeface="+mn-ea"/>
                        <a:cs typeface="+mn-cs"/>
                      </a:endParaRP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488172713"/>
                  </a:ext>
                </a:extLst>
              </a:tr>
              <a:tr h="198544">
                <a:tc>
                  <a:txBody>
                    <a:bodyPr/>
                    <a:lstStyle/>
                    <a:p>
                      <a:pPr algn="l" fontAlgn="b"/>
                      <a:r>
                        <a:rPr lang="en-US" sz="1400" b="0" i="0" u="none" strike="noStrike">
                          <a:solidFill>
                            <a:schemeClr val="tx1"/>
                          </a:solidFill>
                          <a:effectLst/>
                          <a:latin typeface="Arial" panose="020B0604020202020204" pitchFamily="34" charset="0"/>
                        </a:rPr>
                        <a:t>Additional Meetings Spring</a:t>
                      </a:r>
                    </a:p>
                  </a:txBody>
                  <a:tcPr marL="6885" marR="6885" marT="688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400" b="0" i="0" u="none" strike="noStrike" dirty="0">
                          <a:solidFill>
                            <a:schemeClr val="bg1"/>
                          </a:solidFill>
                          <a:effectLst/>
                          <a:latin typeface="Arial" panose="020B0604020202020204" pitchFamily="34" charset="0"/>
                        </a:rPr>
                        <a:t>Meetings</a:t>
                      </a:r>
                    </a:p>
                  </a:txBody>
                  <a:tcPr marL="6885" marR="6885" marT="688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r" fontAlgn="b"/>
                      <a:r>
                        <a:rPr lang="en-US" sz="1400" b="0" i="0" u="none" strike="noStrike" kern="1200" dirty="0">
                          <a:solidFill>
                            <a:schemeClr val="tx1"/>
                          </a:solidFill>
                          <a:effectLst/>
                          <a:latin typeface="Arial" panose="020B0604020202020204" pitchFamily="34" charset="0"/>
                          <a:ea typeface="+mn-ea"/>
                          <a:cs typeface="+mn-cs"/>
                        </a:rPr>
                        <a:t>$100.00</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400" b="0" i="0" u="none" strike="noStrike" kern="1200" dirty="0">
                          <a:solidFill>
                            <a:schemeClr val="tx1"/>
                          </a:solidFill>
                          <a:effectLst/>
                          <a:latin typeface="Arial" panose="020B0604020202020204" pitchFamily="34" charset="0"/>
                          <a:ea typeface="+mn-ea"/>
                          <a:cs typeface="+mn-cs"/>
                        </a:rPr>
                        <a:t>$31</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854289902"/>
                  </a:ext>
                </a:extLst>
              </a:tr>
              <a:tr h="198544">
                <a:tc>
                  <a:txBody>
                    <a:bodyPr/>
                    <a:lstStyle/>
                    <a:p>
                      <a:pPr algn="l" fontAlgn="b"/>
                      <a:r>
                        <a:rPr lang="en-US" sz="1400" b="0" i="0" u="none" strike="noStrike" dirty="0">
                          <a:solidFill>
                            <a:schemeClr val="tx1"/>
                          </a:solidFill>
                          <a:effectLst/>
                          <a:latin typeface="Arial" panose="020B0604020202020204" pitchFamily="34" charset="0"/>
                        </a:rPr>
                        <a:t>NERM</a:t>
                      </a:r>
                    </a:p>
                  </a:txBody>
                  <a:tcPr marL="6885" marR="6885" marT="688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400" b="0" i="0" u="none" strike="noStrike">
                          <a:solidFill>
                            <a:schemeClr val="bg1"/>
                          </a:solidFill>
                          <a:effectLst/>
                          <a:latin typeface="Arial" panose="020B0604020202020204" pitchFamily="34" charset="0"/>
                        </a:rPr>
                        <a:t>Meetings</a:t>
                      </a:r>
                    </a:p>
                  </a:txBody>
                  <a:tcPr marL="6885" marR="6885" marT="688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r" fontAlgn="b"/>
                      <a:r>
                        <a:rPr lang="en-US" sz="1400" b="0" i="0" u="none" strike="noStrike" kern="1200">
                          <a:solidFill>
                            <a:schemeClr val="tx1"/>
                          </a:solidFill>
                          <a:effectLst/>
                          <a:latin typeface="Arial" panose="020B0604020202020204" pitchFamily="34" charset="0"/>
                          <a:ea typeface="+mn-ea"/>
                          <a:cs typeface="+mn-cs"/>
                        </a:rPr>
                        <a:t> </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endParaRPr lang="en-US" sz="1400" b="0" i="0" u="none" strike="noStrike" kern="1200" dirty="0">
                        <a:solidFill>
                          <a:schemeClr val="tx1"/>
                        </a:solidFill>
                        <a:effectLst/>
                        <a:latin typeface="Arial" panose="020B0604020202020204" pitchFamily="34" charset="0"/>
                        <a:ea typeface="+mn-ea"/>
                        <a:cs typeface="+mn-cs"/>
                      </a:endParaRP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693906690"/>
                  </a:ext>
                </a:extLst>
              </a:tr>
              <a:tr h="198544">
                <a:tc>
                  <a:txBody>
                    <a:bodyPr/>
                    <a:lstStyle/>
                    <a:p>
                      <a:pPr algn="l" fontAlgn="b"/>
                      <a:r>
                        <a:rPr lang="en-US" sz="1400" b="0" i="0" u="none" strike="noStrike">
                          <a:solidFill>
                            <a:schemeClr val="tx1"/>
                          </a:solidFill>
                          <a:effectLst/>
                          <a:latin typeface="Arial" panose="020B0604020202020204" pitchFamily="34" charset="0"/>
                        </a:rPr>
                        <a:t>Additional Meetings Fall</a:t>
                      </a:r>
                    </a:p>
                  </a:txBody>
                  <a:tcPr marL="6885" marR="6885" marT="688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400" b="0" i="0" u="none" strike="noStrike" dirty="0">
                          <a:solidFill>
                            <a:schemeClr val="bg1"/>
                          </a:solidFill>
                          <a:effectLst/>
                          <a:latin typeface="Arial" panose="020B0604020202020204" pitchFamily="34" charset="0"/>
                        </a:rPr>
                        <a:t>Meetings</a:t>
                      </a:r>
                    </a:p>
                  </a:txBody>
                  <a:tcPr marL="6885" marR="6885" marT="688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r" fontAlgn="b"/>
                      <a:r>
                        <a:rPr lang="en-US" sz="1400" b="0" i="0" u="none" strike="noStrike" kern="1200">
                          <a:solidFill>
                            <a:schemeClr val="tx1"/>
                          </a:solidFill>
                          <a:effectLst/>
                          <a:latin typeface="Arial" panose="020B0604020202020204" pitchFamily="34" charset="0"/>
                          <a:ea typeface="+mn-ea"/>
                          <a:cs typeface="+mn-cs"/>
                        </a:rPr>
                        <a:t> </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endParaRPr lang="en-US" sz="1400" b="0" i="0" u="none" strike="noStrike" kern="1200" dirty="0">
                        <a:solidFill>
                          <a:schemeClr val="tx1"/>
                        </a:solidFill>
                        <a:effectLst/>
                        <a:latin typeface="Arial" panose="020B0604020202020204" pitchFamily="34" charset="0"/>
                        <a:ea typeface="+mn-ea"/>
                        <a:cs typeface="+mn-cs"/>
                      </a:endParaRP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325808576"/>
                  </a:ext>
                </a:extLst>
              </a:tr>
              <a:tr h="198544">
                <a:tc>
                  <a:txBody>
                    <a:bodyPr/>
                    <a:lstStyle/>
                    <a:p>
                      <a:pPr algn="l" fontAlgn="b"/>
                      <a:r>
                        <a:rPr lang="en-US" sz="1400" b="0" i="0" u="none" strike="noStrike">
                          <a:solidFill>
                            <a:schemeClr val="tx1"/>
                          </a:solidFill>
                          <a:effectLst/>
                          <a:latin typeface="Arial" panose="020B0604020202020204" pitchFamily="34" charset="0"/>
                        </a:rPr>
                        <a:t>Constant Contact/media access</a:t>
                      </a:r>
                    </a:p>
                  </a:txBody>
                  <a:tcPr marL="6885" marR="6885" marT="688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400" b="0" i="0" u="none" strike="noStrike">
                          <a:solidFill>
                            <a:schemeClr val="bg1"/>
                          </a:solidFill>
                          <a:effectLst/>
                          <a:latin typeface="Arial" panose="020B0604020202020204" pitchFamily="34" charset="0"/>
                        </a:rPr>
                        <a:t>Meetings</a:t>
                      </a:r>
                    </a:p>
                  </a:txBody>
                  <a:tcPr marL="6885" marR="6885" marT="688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r" fontAlgn="b"/>
                      <a:r>
                        <a:rPr lang="en-US" sz="1400" b="0" i="0" u="none" strike="noStrike" kern="1200" dirty="0">
                          <a:solidFill>
                            <a:schemeClr val="tx1"/>
                          </a:solidFill>
                          <a:effectLst/>
                          <a:latin typeface="Arial" panose="020B0604020202020204" pitchFamily="34" charset="0"/>
                          <a:ea typeface="+mn-ea"/>
                          <a:cs typeface="+mn-cs"/>
                        </a:rPr>
                        <a:t> </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endParaRPr lang="en-US" sz="1400" b="0" i="0" u="none" strike="noStrike" kern="1200" dirty="0">
                        <a:solidFill>
                          <a:schemeClr val="tx1"/>
                        </a:solidFill>
                        <a:effectLst/>
                        <a:latin typeface="Arial" panose="020B0604020202020204" pitchFamily="34" charset="0"/>
                        <a:ea typeface="+mn-ea"/>
                        <a:cs typeface="+mn-cs"/>
                      </a:endParaRP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874422766"/>
                  </a:ext>
                </a:extLst>
              </a:tr>
              <a:tr h="198544">
                <a:tc>
                  <a:txBody>
                    <a:bodyPr/>
                    <a:lstStyle/>
                    <a:p>
                      <a:pPr algn="l" fontAlgn="b"/>
                      <a:r>
                        <a:rPr lang="en-US" sz="1400" b="0" i="0" u="none" strike="noStrike">
                          <a:solidFill>
                            <a:schemeClr val="tx1"/>
                          </a:solidFill>
                          <a:effectLst/>
                          <a:latin typeface="Arial" panose="020B0604020202020204" pitchFamily="34" charset="0"/>
                        </a:rPr>
                        <a:t>YIPS Award (Fall Odd Yrs)</a:t>
                      </a:r>
                    </a:p>
                  </a:txBody>
                  <a:tcPr marL="6885" marR="6885" marT="688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400" b="0" i="0" u="none" strike="noStrike">
                          <a:solidFill>
                            <a:schemeClr val="bg1"/>
                          </a:solidFill>
                          <a:effectLst/>
                          <a:latin typeface="Arial" panose="020B0604020202020204" pitchFamily="34" charset="0"/>
                        </a:rPr>
                        <a:t> </a:t>
                      </a:r>
                    </a:p>
                  </a:txBody>
                  <a:tcPr marL="6885" marR="6885" marT="688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69138"/>
                    </a:solidFill>
                  </a:tcPr>
                </a:tc>
                <a:tc>
                  <a:txBody>
                    <a:bodyPr/>
                    <a:lstStyle/>
                    <a:p>
                      <a:pPr algn="r" fontAlgn="b"/>
                      <a:r>
                        <a:rPr lang="en-US" sz="1400" b="0" i="0" u="none" strike="noStrike" kern="1200">
                          <a:solidFill>
                            <a:schemeClr val="tx1"/>
                          </a:solidFill>
                          <a:effectLst/>
                          <a:latin typeface="Arial" panose="020B0604020202020204" pitchFamily="34" charset="0"/>
                          <a:ea typeface="+mn-ea"/>
                          <a:cs typeface="+mn-cs"/>
                        </a:rPr>
                        <a:t> </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endParaRPr lang="en-US" sz="1400" b="0" i="0" u="none" strike="noStrike" kern="1200" dirty="0">
                        <a:solidFill>
                          <a:schemeClr val="tx1"/>
                        </a:solidFill>
                        <a:effectLst/>
                        <a:latin typeface="Arial" panose="020B0604020202020204" pitchFamily="34" charset="0"/>
                        <a:ea typeface="+mn-ea"/>
                        <a:cs typeface="+mn-cs"/>
                      </a:endParaRP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56786341"/>
                  </a:ext>
                </a:extLst>
              </a:tr>
              <a:tr h="198544">
                <a:tc>
                  <a:txBody>
                    <a:bodyPr/>
                    <a:lstStyle/>
                    <a:p>
                      <a:pPr algn="l" fontAlgn="b"/>
                      <a:r>
                        <a:rPr lang="en-US" sz="1400" b="0" i="0" u="none" strike="noStrike">
                          <a:solidFill>
                            <a:schemeClr val="tx1"/>
                          </a:solidFill>
                          <a:effectLst/>
                          <a:latin typeface="Arial" panose="020B0604020202020204" pitchFamily="34" charset="0"/>
                        </a:rPr>
                        <a:t>YIPS Travel (Fall Odd Yrs)</a:t>
                      </a:r>
                    </a:p>
                  </a:txBody>
                  <a:tcPr marL="6885" marR="6885" marT="688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400" b="0" i="0" u="none" strike="noStrike">
                          <a:solidFill>
                            <a:schemeClr val="bg1"/>
                          </a:solidFill>
                          <a:effectLst/>
                          <a:latin typeface="Arial" panose="020B0604020202020204" pitchFamily="34" charset="0"/>
                        </a:rPr>
                        <a:t>Awards</a:t>
                      </a:r>
                    </a:p>
                  </a:txBody>
                  <a:tcPr marL="6885" marR="6885" marT="688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69138"/>
                    </a:solidFill>
                  </a:tcPr>
                </a:tc>
                <a:tc>
                  <a:txBody>
                    <a:bodyPr/>
                    <a:lstStyle/>
                    <a:p>
                      <a:pPr algn="r" fontAlgn="b"/>
                      <a:r>
                        <a:rPr lang="en-US" sz="1400" b="0" i="0" u="none" strike="noStrike" kern="1200" dirty="0">
                          <a:solidFill>
                            <a:schemeClr val="tx1"/>
                          </a:solidFill>
                          <a:effectLst/>
                          <a:latin typeface="Arial" panose="020B0604020202020204" pitchFamily="34" charset="0"/>
                          <a:ea typeface="+mn-ea"/>
                          <a:cs typeface="+mn-cs"/>
                        </a:rPr>
                        <a:t> </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endParaRPr lang="en-US" sz="1400" b="0" i="0" u="none" strike="noStrike" kern="1200" dirty="0">
                        <a:solidFill>
                          <a:schemeClr val="tx1"/>
                        </a:solidFill>
                        <a:effectLst/>
                        <a:latin typeface="Arial" panose="020B0604020202020204" pitchFamily="34" charset="0"/>
                        <a:ea typeface="+mn-ea"/>
                        <a:cs typeface="+mn-cs"/>
                      </a:endParaRP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082704174"/>
                  </a:ext>
                </a:extLst>
              </a:tr>
              <a:tr h="198544">
                <a:tc>
                  <a:txBody>
                    <a:bodyPr/>
                    <a:lstStyle/>
                    <a:p>
                      <a:pPr algn="l" fontAlgn="b"/>
                      <a:r>
                        <a:rPr lang="en-US" sz="1400" b="0" i="0" u="none" strike="noStrike">
                          <a:solidFill>
                            <a:schemeClr val="tx1"/>
                          </a:solidFill>
                          <a:effectLst/>
                          <a:latin typeface="Arial" panose="020B0604020202020204" pitchFamily="34" charset="0"/>
                        </a:rPr>
                        <a:t>IPS Award (Fall Even Yrs)</a:t>
                      </a:r>
                    </a:p>
                  </a:txBody>
                  <a:tcPr marL="6885" marR="6885" marT="688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400" b="0" i="0" u="none" strike="noStrike" dirty="0">
                          <a:solidFill>
                            <a:schemeClr val="bg1"/>
                          </a:solidFill>
                          <a:effectLst/>
                          <a:latin typeface="Arial" panose="020B0604020202020204" pitchFamily="34" charset="0"/>
                        </a:rPr>
                        <a:t>Awards</a:t>
                      </a:r>
                    </a:p>
                  </a:txBody>
                  <a:tcPr marL="6885" marR="6885" marT="688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69138"/>
                    </a:solidFill>
                  </a:tcPr>
                </a:tc>
                <a:tc>
                  <a:txBody>
                    <a:bodyPr/>
                    <a:lstStyle/>
                    <a:p>
                      <a:pPr algn="r" fontAlgn="b"/>
                      <a:r>
                        <a:rPr lang="en-US" sz="1400" b="0" i="0" u="none" strike="noStrike" kern="1200">
                          <a:solidFill>
                            <a:schemeClr val="tx1"/>
                          </a:solidFill>
                          <a:effectLst/>
                          <a:latin typeface="Arial" panose="020B0604020202020204" pitchFamily="34" charset="0"/>
                          <a:ea typeface="+mn-ea"/>
                          <a:cs typeface="+mn-cs"/>
                        </a:rPr>
                        <a:t>$0.00</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endParaRPr lang="en-US" sz="1400" b="0" i="0" u="none" strike="noStrike" kern="1200" dirty="0">
                        <a:solidFill>
                          <a:schemeClr val="tx1"/>
                        </a:solidFill>
                        <a:effectLst/>
                        <a:latin typeface="Arial" panose="020B0604020202020204" pitchFamily="34" charset="0"/>
                        <a:ea typeface="+mn-ea"/>
                        <a:cs typeface="+mn-cs"/>
                      </a:endParaRP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476149603"/>
                  </a:ext>
                </a:extLst>
              </a:tr>
              <a:tr h="334656">
                <a:tc>
                  <a:txBody>
                    <a:bodyPr/>
                    <a:lstStyle/>
                    <a:p>
                      <a:pPr algn="l" fontAlgn="b"/>
                      <a:r>
                        <a:rPr lang="en-US" sz="1400" b="0" i="0" u="none" strike="noStrike">
                          <a:solidFill>
                            <a:schemeClr val="tx1"/>
                          </a:solidFill>
                          <a:effectLst/>
                          <a:latin typeface="Arial" panose="020B0604020202020204" pitchFamily="34" charset="0"/>
                        </a:rPr>
                        <a:t>Graduate Student Travel Award #1 Spring</a:t>
                      </a:r>
                    </a:p>
                  </a:txBody>
                  <a:tcPr marL="6885" marR="6885" marT="688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400" b="0" i="0" u="none" strike="noStrike">
                          <a:solidFill>
                            <a:schemeClr val="bg1"/>
                          </a:solidFill>
                          <a:effectLst/>
                          <a:latin typeface="Arial" panose="020B0604020202020204" pitchFamily="34" charset="0"/>
                        </a:rPr>
                        <a:t>Awards</a:t>
                      </a:r>
                    </a:p>
                  </a:txBody>
                  <a:tcPr marL="6885" marR="6885" marT="688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69138"/>
                    </a:solidFill>
                  </a:tcPr>
                </a:tc>
                <a:tc>
                  <a:txBody>
                    <a:bodyPr/>
                    <a:lstStyle/>
                    <a:p>
                      <a:pPr algn="r" fontAlgn="b"/>
                      <a:r>
                        <a:rPr lang="en-US" sz="1400" b="0" i="0" u="none" strike="noStrike" kern="1200" dirty="0">
                          <a:solidFill>
                            <a:schemeClr val="tx1"/>
                          </a:solidFill>
                          <a:effectLst/>
                          <a:latin typeface="Arial" panose="020B0604020202020204" pitchFamily="34" charset="0"/>
                          <a:ea typeface="+mn-ea"/>
                          <a:cs typeface="+mn-cs"/>
                        </a:rPr>
                        <a:t>$750.00</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400" b="0" i="0" u="none" strike="noStrike" kern="1200" dirty="0">
                          <a:solidFill>
                            <a:schemeClr val="tx1"/>
                          </a:solidFill>
                          <a:effectLst/>
                          <a:latin typeface="Arial" panose="020B0604020202020204" pitchFamily="34" charset="0"/>
                          <a:ea typeface="+mn-ea"/>
                          <a:cs typeface="+mn-cs"/>
                        </a:rPr>
                        <a:t>$750</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28418595"/>
                  </a:ext>
                </a:extLst>
              </a:tr>
              <a:tr h="334656">
                <a:tc>
                  <a:txBody>
                    <a:bodyPr/>
                    <a:lstStyle/>
                    <a:p>
                      <a:pPr algn="l" fontAlgn="b"/>
                      <a:r>
                        <a:rPr lang="en-US" sz="1400" b="0" i="0" u="none" strike="noStrike">
                          <a:solidFill>
                            <a:schemeClr val="tx1"/>
                          </a:solidFill>
                          <a:effectLst/>
                          <a:latin typeface="Arial" panose="020B0604020202020204" pitchFamily="34" charset="0"/>
                        </a:rPr>
                        <a:t>Graduate Student Travel Award #2 Spring</a:t>
                      </a:r>
                    </a:p>
                  </a:txBody>
                  <a:tcPr marL="6885" marR="6885" marT="688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400" b="0" i="0" u="none" strike="noStrike">
                          <a:solidFill>
                            <a:schemeClr val="bg1"/>
                          </a:solidFill>
                          <a:effectLst/>
                          <a:latin typeface="Arial" panose="020B0604020202020204" pitchFamily="34" charset="0"/>
                        </a:rPr>
                        <a:t>Awards</a:t>
                      </a:r>
                    </a:p>
                  </a:txBody>
                  <a:tcPr marL="6885" marR="6885" marT="688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69138"/>
                    </a:solidFill>
                  </a:tcPr>
                </a:tc>
                <a:tc>
                  <a:txBody>
                    <a:bodyPr/>
                    <a:lstStyle/>
                    <a:p>
                      <a:pPr algn="r" fontAlgn="b"/>
                      <a:r>
                        <a:rPr lang="en-US" sz="1400" b="0" i="0" u="none" strike="noStrike" kern="1200" dirty="0">
                          <a:solidFill>
                            <a:schemeClr val="tx1"/>
                          </a:solidFill>
                          <a:effectLst/>
                          <a:latin typeface="Arial" panose="020B0604020202020204" pitchFamily="34" charset="0"/>
                          <a:ea typeface="+mn-ea"/>
                          <a:cs typeface="+mn-cs"/>
                        </a:rPr>
                        <a:t>$750.00</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400" b="0" i="0" u="none" strike="noStrike" kern="1200" dirty="0">
                          <a:solidFill>
                            <a:schemeClr val="tx1"/>
                          </a:solidFill>
                          <a:effectLst/>
                          <a:latin typeface="Arial" panose="020B0604020202020204" pitchFamily="34" charset="0"/>
                          <a:ea typeface="+mn-ea"/>
                          <a:cs typeface="+mn-cs"/>
                        </a:rPr>
                        <a:t>$750</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708674397"/>
                  </a:ext>
                </a:extLst>
              </a:tr>
              <a:tr h="198544">
                <a:tc>
                  <a:txBody>
                    <a:bodyPr/>
                    <a:lstStyle/>
                    <a:p>
                      <a:pPr algn="l" fontAlgn="b"/>
                      <a:r>
                        <a:rPr lang="en-US" sz="1400" b="0" i="0" u="none" strike="noStrike">
                          <a:solidFill>
                            <a:schemeClr val="tx1"/>
                          </a:solidFill>
                          <a:effectLst/>
                          <a:latin typeface="Arial" panose="020B0604020202020204" pitchFamily="34" charset="0"/>
                        </a:rPr>
                        <a:t>Graduate Student Travel Award #1 Fall</a:t>
                      </a:r>
                    </a:p>
                  </a:txBody>
                  <a:tcPr marL="6885" marR="6885" marT="688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400" b="0" i="0" u="none" strike="noStrike">
                          <a:solidFill>
                            <a:schemeClr val="bg1"/>
                          </a:solidFill>
                          <a:effectLst/>
                          <a:latin typeface="Arial" panose="020B0604020202020204" pitchFamily="34" charset="0"/>
                        </a:rPr>
                        <a:t>Awards</a:t>
                      </a:r>
                    </a:p>
                  </a:txBody>
                  <a:tcPr marL="6885" marR="6885" marT="688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69138"/>
                    </a:solidFill>
                  </a:tcPr>
                </a:tc>
                <a:tc>
                  <a:txBody>
                    <a:bodyPr/>
                    <a:lstStyle/>
                    <a:p>
                      <a:pPr algn="r" fontAlgn="b"/>
                      <a:r>
                        <a:rPr lang="en-US" sz="1400" b="0" i="0" u="none" strike="noStrike" kern="1200">
                          <a:solidFill>
                            <a:schemeClr val="tx1"/>
                          </a:solidFill>
                          <a:effectLst/>
                          <a:latin typeface="Arial" panose="020B0604020202020204" pitchFamily="34" charset="0"/>
                          <a:ea typeface="+mn-ea"/>
                          <a:cs typeface="+mn-cs"/>
                        </a:rPr>
                        <a:t>$750.00</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endParaRPr lang="en-US" sz="1400" b="0" i="0" u="none" strike="noStrike" kern="1200" dirty="0">
                        <a:solidFill>
                          <a:schemeClr val="tx1"/>
                        </a:solidFill>
                        <a:effectLst/>
                        <a:latin typeface="Arial" panose="020B0604020202020204" pitchFamily="34" charset="0"/>
                        <a:ea typeface="+mn-ea"/>
                        <a:cs typeface="+mn-cs"/>
                      </a:endParaRP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25336331"/>
                  </a:ext>
                </a:extLst>
              </a:tr>
              <a:tr h="198544">
                <a:tc>
                  <a:txBody>
                    <a:bodyPr/>
                    <a:lstStyle/>
                    <a:p>
                      <a:pPr algn="l" fontAlgn="b"/>
                      <a:r>
                        <a:rPr lang="en-US" sz="1400" b="0" i="0" u="none" strike="noStrike">
                          <a:solidFill>
                            <a:schemeClr val="tx1"/>
                          </a:solidFill>
                          <a:effectLst/>
                          <a:latin typeface="Arial" panose="020B0604020202020204" pitchFamily="34" charset="0"/>
                        </a:rPr>
                        <a:t>Graduate Student Travel Award #2 Fall</a:t>
                      </a:r>
                    </a:p>
                  </a:txBody>
                  <a:tcPr marL="6885" marR="6885" marT="688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400" b="0" i="0" u="none" strike="noStrike" dirty="0">
                          <a:solidFill>
                            <a:schemeClr val="bg1"/>
                          </a:solidFill>
                          <a:effectLst/>
                          <a:latin typeface="Arial" panose="020B0604020202020204" pitchFamily="34" charset="0"/>
                        </a:rPr>
                        <a:t>Awards</a:t>
                      </a:r>
                    </a:p>
                  </a:txBody>
                  <a:tcPr marL="6885" marR="6885" marT="688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69138"/>
                    </a:solidFill>
                  </a:tcPr>
                </a:tc>
                <a:tc>
                  <a:txBody>
                    <a:bodyPr/>
                    <a:lstStyle/>
                    <a:p>
                      <a:pPr algn="r" fontAlgn="b"/>
                      <a:r>
                        <a:rPr lang="en-US" sz="1400" b="0" i="0" u="none" strike="noStrike" kern="1200" dirty="0">
                          <a:solidFill>
                            <a:schemeClr val="tx1"/>
                          </a:solidFill>
                          <a:effectLst/>
                          <a:latin typeface="Arial" panose="020B0604020202020204" pitchFamily="34" charset="0"/>
                          <a:ea typeface="+mn-ea"/>
                          <a:cs typeface="+mn-cs"/>
                        </a:rPr>
                        <a:t>$750.00</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endParaRPr lang="en-US" sz="1400" b="0" i="0" u="none" strike="noStrike" kern="1200" dirty="0">
                        <a:solidFill>
                          <a:schemeClr val="tx1"/>
                        </a:solidFill>
                        <a:effectLst/>
                        <a:latin typeface="Arial" panose="020B0604020202020204" pitchFamily="34" charset="0"/>
                        <a:ea typeface="+mn-ea"/>
                        <a:cs typeface="+mn-cs"/>
                      </a:endParaRP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131782110"/>
                  </a:ext>
                </a:extLst>
              </a:tr>
              <a:tr h="198544">
                <a:tc>
                  <a:txBody>
                    <a:bodyPr/>
                    <a:lstStyle/>
                    <a:p>
                      <a:pPr algn="l" fontAlgn="b"/>
                      <a:r>
                        <a:rPr lang="en-US" sz="1400" b="0" i="0" u="none" strike="noStrike">
                          <a:solidFill>
                            <a:schemeClr val="tx1"/>
                          </a:solidFill>
                          <a:effectLst/>
                          <a:latin typeface="Arial" panose="020B0604020202020204" pitchFamily="34" charset="0"/>
                        </a:rPr>
                        <a:t>Grad Student Travel Awd Poster</a:t>
                      </a:r>
                    </a:p>
                  </a:txBody>
                  <a:tcPr marL="6885" marR="6885" marT="688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400" b="0" i="0" u="none" strike="noStrike">
                          <a:solidFill>
                            <a:schemeClr val="bg1"/>
                          </a:solidFill>
                          <a:effectLst/>
                          <a:latin typeface="Arial" panose="020B0604020202020204" pitchFamily="34" charset="0"/>
                        </a:rPr>
                        <a:t>Awards</a:t>
                      </a:r>
                    </a:p>
                  </a:txBody>
                  <a:tcPr marL="6885" marR="6885" marT="688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69138"/>
                    </a:solidFill>
                  </a:tcPr>
                </a:tc>
                <a:tc>
                  <a:txBody>
                    <a:bodyPr/>
                    <a:lstStyle/>
                    <a:p>
                      <a:pPr algn="r" fontAlgn="b"/>
                      <a:r>
                        <a:rPr lang="en-US" sz="1400" b="0" i="0" u="none" strike="noStrike" kern="1200" dirty="0">
                          <a:solidFill>
                            <a:schemeClr val="tx1"/>
                          </a:solidFill>
                          <a:effectLst/>
                          <a:latin typeface="Arial" panose="020B0604020202020204" pitchFamily="34" charset="0"/>
                          <a:ea typeface="+mn-ea"/>
                          <a:cs typeface="+mn-cs"/>
                        </a:rPr>
                        <a:t> </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endParaRPr lang="en-US" sz="1400" b="0" i="0" u="none" strike="noStrike" kern="1200" dirty="0">
                        <a:solidFill>
                          <a:schemeClr val="tx1"/>
                        </a:solidFill>
                        <a:effectLst/>
                        <a:latin typeface="Arial" panose="020B0604020202020204" pitchFamily="34" charset="0"/>
                        <a:ea typeface="+mn-ea"/>
                        <a:cs typeface="+mn-cs"/>
                      </a:endParaRP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416629982"/>
                  </a:ext>
                </a:extLst>
              </a:tr>
              <a:tr h="198544">
                <a:tc>
                  <a:txBody>
                    <a:bodyPr/>
                    <a:lstStyle/>
                    <a:p>
                      <a:pPr algn="l" fontAlgn="b"/>
                      <a:r>
                        <a:rPr lang="en-US" sz="1400" b="0" i="0" u="none" strike="noStrike">
                          <a:solidFill>
                            <a:schemeClr val="tx1"/>
                          </a:solidFill>
                          <a:effectLst/>
                          <a:latin typeface="Arial" panose="020B0604020202020204" pitchFamily="34" charset="0"/>
                        </a:rPr>
                        <a:t>Identify Award Opportunity</a:t>
                      </a:r>
                    </a:p>
                  </a:txBody>
                  <a:tcPr marL="6885" marR="6885" marT="688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400" b="0" i="0" u="none" strike="noStrike" dirty="0">
                          <a:solidFill>
                            <a:schemeClr val="bg1"/>
                          </a:solidFill>
                          <a:effectLst/>
                          <a:latin typeface="Arial" panose="020B0604020202020204" pitchFamily="34" charset="0"/>
                        </a:rPr>
                        <a:t>Awards</a:t>
                      </a:r>
                    </a:p>
                  </a:txBody>
                  <a:tcPr marL="6885" marR="6885" marT="688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69138"/>
                    </a:solidFill>
                  </a:tcPr>
                </a:tc>
                <a:tc>
                  <a:txBody>
                    <a:bodyPr/>
                    <a:lstStyle/>
                    <a:p>
                      <a:pPr algn="r" fontAlgn="b"/>
                      <a:r>
                        <a:rPr lang="en-US" sz="1400" b="0" i="0" u="none" strike="noStrike" kern="1200" dirty="0">
                          <a:solidFill>
                            <a:schemeClr val="tx1"/>
                          </a:solidFill>
                          <a:effectLst/>
                          <a:latin typeface="Arial" panose="020B0604020202020204" pitchFamily="34" charset="0"/>
                          <a:ea typeface="+mn-ea"/>
                          <a:cs typeface="+mn-cs"/>
                        </a:rPr>
                        <a:t> </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endParaRPr lang="en-US" sz="1400" b="0" i="0" u="none" strike="noStrike" kern="1200" dirty="0">
                        <a:solidFill>
                          <a:schemeClr val="tx1"/>
                        </a:solidFill>
                        <a:effectLst/>
                        <a:latin typeface="Arial" panose="020B0604020202020204" pitchFamily="34" charset="0"/>
                        <a:ea typeface="+mn-ea"/>
                        <a:cs typeface="+mn-cs"/>
                      </a:endParaRP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277344725"/>
                  </a:ext>
                </a:extLst>
              </a:tr>
              <a:tr h="198544">
                <a:tc>
                  <a:txBody>
                    <a:bodyPr/>
                    <a:lstStyle/>
                    <a:p>
                      <a:pPr algn="l" fontAlgn="b"/>
                      <a:r>
                        <a:rPr lang="en-US" sz="1400" b="0" i="0" u="none" strike="noStrike">
                          <a:solidFill>
                            <a:schemeClr val="tx1"/>
                          </a:solidFill>
                          <a:effectLst/>
                          <a:latin typeface="Arial" panose="020B0604020202020204" pitchFamily="34" charset="0"/>
                        </a:rPr>
                        <a:t>Spring - Graduate Research Symp.</a:t>
                      </a:r>
                    </a:p>
                  </a:txBody>
                  <a:tcPr marL="6885" marR="6885" marT="688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400" b="0" i="0" u="none" strike="noStrike">
                          <a:solidFill>
                            <a:schemeClr val="bg1"/>
                          </a:solidFill>
                          <a:effectLst/>
                          <a:latin typeface="Arial" panose="020B0604020202020204" pitchFamily="34" charset="0"/>
                        </a:rPr>
                        <a:t>Programming</a:t>
                      </a:r>
                    </a:p>
                  </a:txBody>
                  <a:tcPr marL="6885" marR="6885" marT="688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99FF"/>
                    </a:solidFill>
                  </a:tcPr>
                </a:tc>
                <a:tc>
                  <a:txBody>
                    <a:bodyPr/>
                    <a:lstStyle/>
                    <a:p>
                      <a:pPr algn="r" fontAlgn="b"/>
                      <a:r>
                        <a:rPr lang="en-US" sz="1400" b="0" i="0" u="none" strike="noStrike" kern="1200" dirty="0">
                          <a:solidFill>
                            <a:schemeClr val="tx1"/>
                          </a:solidFill>
                          <a:effectLst/>
                          <a:latin typeface="Arial" panose="020B0604020202020204" pitchFamily="34" charset="0"/>
                          <a:ea typeface="+mn-ea"/>
                          <a:cs typeface="+mn-cs"/>
                        </a:rPr>
                        <a:t>$1,000.00</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400" b="0" i="0" u="none" strike="noStrike" kern="1200" dirty="0">
                          <a:solidFill>
                            <a:schemeClr val="tx1"/>
                          </a:solidFill>
                          <a:effectLst/>
                          <a:latin typeface="Arial" panose="020B0604020202020204" pitchFamily="34" charset="0"/>
                          <a:ea typeface="+mn-ea"/>
                          <a:cs typeface="+mn-cs"/>
                        </a:rPr>
                        <a:t>$1000</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12786125"/>
                  </a:ext>
                </a:extLst>
              </a:tr>
              <a:tr h="198544">
                <a:tc>
                  <a:txBody>
                    <a:bodyPr/>
                    <a:lstStyle/>
                    <a:p>
                      <a:pPr algn="l" fontAlgn="b"/>
                      <a:r>
                        <a:rPr lang="en-US" sz="1400" b="0" i="0" u="none" strike="noStrike">
                          <a:solidFill>
                            <a:schemeClr val="tx1"/>
                          </a:solidFill>
                          <a:effectLst/>
                          <a:latin typeface="Arial" panose="020B0604020202020204" pitchFamily="34" charset="0"/>
                        </a:rPr>
                        <a:t>Spring- Undergraduate Research Symp.</a:t>
                      </a:r>
                    </a:p>
                  </a:txBody>
                  <a:tcPr marL="6885" marR="6885" marT="688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400" b="0" i="0" u="none" strike="noStrike" dirty="0">
                          <a:solidFill>
                            <a:schemeClr val="bg1"/>
                          </a:solidFill>
                          <a:effectLst/>
                          <a:latin typeface="Arial" panose="020B0604020202020204" pitchFamily="34" charset="0"/>
                        </a:rPr>
                        <a:t>Programming</a:t>
                      </a:r>
                    </a:p>
                  </a:txBody>
                  <a:tcPr marL="6885" marR="6885" marT="688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99FF"/>
                    </a:solidFill>
                  </a:tcPr>
                </a:tc>
                <a:tc>
                  <a:txBody>
                    <a:bodyPr/>
                    <a:lstStyle/>
                    <a:p>
                      <a:pPr algn="r" fontAlgn="b"/>
                      <a:r>
                        <a:rPr lang="en-US" sz="1400" b="0" i="0" u="none" strike="noStrike" kern="1200" dirty="0">
                          <a:solidFill>
                            <a:schemeClr val="tx1"/>
                          </a:solidFill>
                          <a:effectLst/>
                          <a:latin typeface="Arial" panose="020B0604020202020204" pitchFamily="34" charset="0"/>
                          <a:ea typeface="+mn-ea"/>
                          <a:cs typeface="+mn-cs"/>
                        </a:rPr>
                        <a:t>$1,000.00</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400" b="0" i="0" u="none" strike="noStrike" kern="1200" dirty="0">
                          <a:solidFill>
                            <a:schemeClr val="tx1"/>
                          </a:solidFill>
                          <a:effectLst/>
                          <a:latin typeface="Arial" panose="020B0604020202020204" pitchFamily="34" charset="0"/>
                          <a:ea typeface="+mn-ea"/>
                          <a:cs typeface="+mn-cs"/>
                        </a:rPr>
                        <a:t>$1000</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735513008"/>
                  </a:ext>
                </a:extLst>
              </a:tr>
              <a:tr h="198392">
                <a:tc>
                  <a:txBody>
                    <a:bodyPr/>
                    <a:lstStyle/>
                    <a:p>
                      <a:pPr algn="l" fontAlgn="b"/>
                      <a:r>
                        <a:rPr lang="en-US" sz="1400" b="0" i="0" u="none" strike="noStrike" dirty="0">
                          <a:solidFill>
                            <a:schemeClr val="tx1"/>
                          </a:solidFill>
                          <a:effectLst/>
                          <a:latin typeface="Arial" panose="020B0604020202020204" pitchFamily="34" charset="0"/>
                        </a:rPr>
                        <a:t>IIPS Symposia (Fall)</a:t>
                      </a:r>
                    </a:p>
                  </a:txBody>
                  <a:tcPr marL="6885" marR="6885" marT="688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400" b="0" i="0" u="none" strike="noStrike" dirty="0">
                          <a:solidFill>
                            <a:schemeClr val="bg1"/>
                          </a:solidFill>
                          <a:effectLst/>
                          <a:latin typeface="Arial" panose="020B0604020202020204" pitchFamily="34" charset="0"/>
                        </a:rPr>
                        <a:t>Programming</a:t>
                      </a:r>
                    </a:p>
                  </a:txBody>
                  <a:tcPr marL="6885" marR="6885" marT="688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99FF"/>
                    </a:solidFill>
                  </a:tcPr>
                </a:tc>
                <a:tc>
                  <a:txBody>
                    <a:bodyPr/>
                    <a:lstStyle/>
                    <a:p>
                      <a:pPr algn="r" fontAlgn="b"/>
                      <a:endParaRPr lang="en-US" sz="1400" b="0" i="0" u="none" strike="noStrike" kern="1200" dirty="0">
                        <a:solidFill>
                          <a:schemeClr val="tx1"/>
                        </a:solidFill>
                        <a:effectLst/>
                        <a:latin typeface="Arial" panose="020B0604020202020204" pitchFamily="34" charset="0"/>
                        <a:ea typeface="+mn-ea"/>
                        <a:cs typeface="+mn-cs"/>
                      </a:endParaRPr>
                    </a:p>
                  </a:txBody>
                  <a:tcPr marL="7451" marR="7451" marT="745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endParaRPr lang="en-US" sz="1400" b="0" i="0" u="none" strike="noStrike" kern="1200" dirty="0">
                        <a:solidFill>
                          <a:schemeClr val="tx1"/>
                        </a:solidFill>
                        <a:effectLst/>
                        <a:latin typeface="Arial" panose="020B0604020202020204" pitchFamily="34" charset="0"/>
                        <a:ea typeface="+mn-ea"/>
                        <a:cs typeface="+mn-cs"/>
                      </a:endParaRPr>
                    </a:p>
                  </a:txBody>
                  <a:tcPr marL="7451" marR="7451" marT="745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463742002"/>
                  </a:ext>
                </a:extLst>
              </a:tr>
              <a:tr h="198392">
                <a:tc>
                  <a:txBody>
                    <a:bodyPr/>
                    <a:lstStyle/>
                    <a:p>
                      <a:pPr algn="l" fontAlgn="b"/>
                      <a:r>
                        <a:rPr lang="en-US" sz="1400" b="0" i="0" u="none" strike="noStrike">
                          <a:solidFill>
                            <a:schemeClr val="tx1"/>
                          </a:solidFill>
                          <a:effectLst/>
                          <a:latin typeface="Arial" panose="020B0604020202020204" pitchFamily="34" charset="0"/>
                        </a:rPr>
                        <a:t>NGRPC (UMICH)</a:t>
                      </a:r>
                    </a:p>
                  </a:txBody>
                  <a:tcPr marL="6885" marR="6885" marT="688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400" b="0" i="0" u="none" strike="noStrike" dirty="0">
                          <a:solidFill>
                            <a:schemeClr val="bg1"/>
                          </a:solidFill>
                          <a:effectLst/>
                          <a:latin typeface="Arial" panose="020B0604020202020204" pitchFamily="34" charset="0"/>
                        </a:rPr>
                        <a:t>Meetings</a:t>
                      </a:r>
                    </a:p>
                  </a:txBody>
                  <a:tcPr marL="6885" marR="6885" marT="688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endParaRPr lang="en-US" sz="1400" b="0" i="0" u="none" strike="noStrike" kern="1200" dirty="0">
                        <a:solidFill>
                          <a:schemeClr val="tx1"/>
                        </a:solidFill>
                        <a:effectLst/>
                        <a:latin typeface="Arial" panose="020B0604020202020204" pitchFamily="34" charset="0"/>
                        <a:ea typeface="+mn-ea"/>
                        <a:cs typeface="+mn-cs"/>
                      </a:endParaRPr>
                    </a:p>
                  </a:txBody>
                  <a:tcPr marL="7451" marR="7451" marT="745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endParaRPr lang="en-US" sz="1400" b="0" i="0" u="none" strike="noStrike" kern="1200" dirty="0">
                        <a:solidFill>
                          <a:schemeClr val="tx1"/>
                        </a:solidFill>
                        <a:effectLst/>
                        <a:latin typeface="Arial" panose="020B0604020202020204" pitchFamily="34" charset="0"/>
                        <a:ea typeface="+mn-ea"/>
                        <a:cs typeface="+mn-cs"/>
                      </a:endParaRPr>
                    </a:p>
                  </a:txBody>
                  <a:tcPr marL="7451" marR="7451" marT="745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619439627"/>
                  </a:ext>
                </a:extLst>
              </a:tr>
              <a:tr h="198544">
                <a:tc>
                  <a:txBody>
                    <a:bodyPr/>
                    <a:lstStyle/>
                    <a:p>
                      <a:pPr algn="l" fontAlgn="b"/>
                      <a:r>
                        <a:rPr lang="en-US" sz="1400" b="0" i="0" u="none" strike="noStrike">
                          <a:solidFill>
                            <a:schemeClr val="tx1"/>
                          </a:solidFill>
                          <a:effectLst/>
                          <a:latin typeface="Arial" panose="020B0604020202020204" pitchFamily="34" charset="0"/>
                        </a:rPr>
                        <a:t> </a:t>
                      </a:r>
                    </a:p>
                  </a:txBody>
                  <a:tcPr marL="6885" marR="6885" marT="688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400" b="0" i="0" u="none" strike="noStrike" dirty="0">
                          <a:solidFill>
                            <a:schemeClr val="bg1"/>
                          </a:solidFill>
                          <a:effectLst/>
                          <a:latin typeface="Arial" panose="020B0604020202020204" pitchFamily="34" charset="0"/>
                        </a:rPr>
                        <a:t> </a:t>
                      </a:r>
                    </a:p>
                  </a:txBody>
                  <a:tcPr marL="6885" marR="6885" marT="688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400" b="0" i="0" u="none" strike="noStrike" dirty="0">
                          <a:solidFill>
                            <a:schemeClr val="tx1"/>
                          </a:solidFill>
                          <a:effectLst/>
                          <a:latin typeface="Arial" panose="020B0604020202020204" pitchFamily="34" charset="0"/>
                        </a:rPr>
                        <a:t> </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endParaRPr lang="en-US" sz="1400" b="0" i="0" u="none" strike="noStrike" dirty="0">
                        <a:solidFill>
                          <a:schemeClr val="tx1"/>
                        </a:solidFill>
                        <a:effectLst/>
                        <a:latin typeface="Arial" panose="020B0604020202020204" pitchFamily="34" charset="0"/>
                      </a:endParaRP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880083334"/>
                  </a:ext>
                </a:extLst>
              </a:tr>
              <a:tr h="198544">
                <a:tc>
                  <a:txBody>
                    <a:bodyPr/>
                    <a:lstStyle/>
                    <a:p>
                      <a:pPr algn="l" fontAlgn="b"/>
                      <a:r>
                        <a:rPr lang="en-US" sz="1400" b="0" i="0" u="none" strike="noStrike">
                          <a:solidFill>
                            <a:schemeClr val="tx1"/>
                          </a:solidFill>
                          <a:effectLst/>
                          <a:latin typeface="Arial" panose="020B0604020202020204" pitchFamily="34" charset="0"/>
                        </a:rPr>
                        <a:t>Other</a:t>
                      </a:r>
                    </a:p>
                  </a:txBody>
                  <a:tcPr marL="6885" marR="6885" marT="688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400" b="0" i="0" u="none" strike="noStrike" dirty="0">
                          <a:solidFill>
                            <a:schemeClr val="bg1"/>
                          </a:solidFill>
                          <a:effectLst/>
                          <a:latin typeface="Arial" panose="020B0604020202020204" pitchFamily="34" charset="0"/>
                        </a:rPr>
                        <a:t> </a:t>
                      </a:r>
                    </a:p>
                  </a:txBody>
                  <a:tcPr marL="6885" marR="6885" marT="688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tc>
                  <a:txBody>
                    <a:bodyPr/>
                    <a:lstStyle/>
                    <a:p>
                      <a:pPr algn="r" fontAlgn="b"/>
                      <a:endParaRPr lang="en-US" sz="1400" b="1" i="0" u="none" strike="noStrike" dirty="0">
                        <a:solidFill>
                          <a:schemeClr val="tx1"/>
                        </a:solidFill>
                        <a:effectLst/>
                        <a:latin typeface="Arial" panose="020B0604020202020204" pitchFamily="34" charset="0"/>
                      </a:endParaRP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endParaRPr lang="en-US" sz="1400" b="1" i="0" u="none" strike="noStrike" dirty="0">
                        <a:solidFill>
                          <a:schemeClr val="tx1"/>
                        </a:solidFill>
                        <a:effectLst/>
                        <a:latin typeface="Arial" panose="020B0604020202020204" pitchFamily="34" charset="0"/>
                      </a:endParaRP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333292415"/>
                  </a:ext>
                </a:extLst>
              </a:tr>
              <a:tr h="254269">
                <a:tc>
                  <a:txBody>
                    <a:bodyPr/>
                    <a:lstStyle/>
                    <a:p>
                      <a:pPr algn="l" fontAlgn="b"/>
                      <a:endParaRPr lang="en-US" sz="1400" b="0" i="0" u="none" strike="noStrike">
                        <a:solidFill>
                          <a:schemeClr val="tx1"/>
                        </a:solidFill>
                        <a:effectLst/>
                        <a:latin typeface="Arial" panose="020B0604020202020204" pitchFamily="34" charset="0"/>
                      </a:endParaRPr>
                    </a:p>
                  </a:txBody>
                  <a:tcPr marL="6885" marR="6885" marT="6885" marB="0" anchor="b">
                    <a:lnL>
                      <a:noFill/>
                    </a:lnL>
                    <a:lnR>
                      <a:noFill/>
                    </a:lnR>
                    <a:lnT w="6350" cap="flat" cmpd="sng" algn="ctr">
                      <a:solidFill>
                        <a:srgbClr val="000000"/>
                      </a:solidFill>
                      <a:prstDash val="solid"/>
                      <a:round/>
                      <a:headEnd type="none" w="med" len="med"/>
                      <a:tailEnd type="none" w="med" len="med"/>
                    </a:lnT>
                    <a:lnB>
                      <a:noFill/>
                    </a:lnB>
                  </a:tcPr>
                </a:tc>
                <a:tc>
                  <a:txBody>
                    <a:bodyPr/>
                    <a:lstStyle/>
                    <a:p>
                      <a:pPr algn="r" fontAlgn="b"/>
                      <a:r>
                        <a:rPr lang="en-US" sz="1400" b="1" i="0" u="none" strike="noStrike" dirty="0">
                          <a:solidFill>
                            <a:schemeClr val="bg1"/>
                          </a:solidFill>
                          <a:effectLst/>
                          <a:latin typeface="Arial" panose="020B0604020202020204" pitchFamily="34" charset="0"/>
                        </a:rPr>
                        <a:t> TOTAL EXP </a:t>
                      </a:r>
                    </a:p>
                  </a:txBody>
                  <a:tcPr marL="6885" marR="6885" marT="6885" marB="0" anchor="b">
                    <a:lnL>
                      <a:noFill/>
                    </a:lnL>
                    <a:lnR>
                      <a:noFill/>
                    </a:lnR>
                    <a:lnT w="6350" cap="flat" cmpd="sng" algn="ctr">
                      <a:solidFill>
                        <a:srgbClr val="000000"/>
                      </a:solidFill>
                      <a:prstDash val="solid"/>
                      <a:round/>
                      <a:headEnd type="none" w="med" len="med"/>
                      <a:tailEnd type="none" w="med" len="med"/>
                    </a:lnT>
                    <a:lnB>
                      <a:noFill/>
                    </a:lnB>
                    <a:solidFill>
                      <a:srgbClr val="E6B4B4"/>
                    </a:solidFill>
                  </a:tcPr>
                </a:tc>
                <a:tc>
                  <a:txBody>
                    <a:bodyPr/>
                    <a:lstStyle/>
                    <a:p>
                      <a:pPr marL="0" marR="0" lvl="0" indent="0" algn="r" defTabSz="914400" rtl="0" eaLnBrk="1" fontAlgn="b" latinLnBrk="0" hangingPunct="1">
                        <a:lnSpc>
                          <a:spcPct val="100000"/>
                        </a:lnSpc>
                        <a:spcBef>
                          <a:spcPts val="0"/>
                        </a:spcBef>
                        <a:spcAft>
                          <a:spcPts val="0"/>
                        </a:spcAft>
                        <a:buClrTx/>
                        <a:buSzTx/>
                        <a:buFontTx/>
                        <a:buNone/>
                        <a:tabLst/>
                        <a:defRPr/>
                      </a:pPr>
                      <a:r>
                        <a:rPr lang="en-US" sz="1400" b="1" i="0" u="none" strike="noStrike" dirty="0">
                          <a:solidFill>
                            <a:schemeClr val="bg1"/>
                          </a:solidFill>
                          <a:effectLst/>
                          <a:latin typeface="Arial" panose="020B0604020202020204" pitchFamily="34" charset="0"/>
                        </a:rPr>
                        <a:t>$17,100.00</a:t>
                      </a:r>
                    </a:p>
                  </a:txBody>
                  <a:tcPr marL="6885" marR="6885" marT="6885" marB="0" anchor="b">
                    <a:lnL>
                      <a:noFill/>
                    </a:lnL>
                    <a:lnR>
                      <a:noFill/>
                    </a:lnR>
                    <a:lnT w="6350" cap="flat" cmpd="sng" algn="ctr">
                      <a:solidFill>
                        <a:srgbClr val="000000"/>
                      </a:solidFill>
                      <a:prstDash val="solid"/>
                      <a:round/>
                      <a:headEnd type="none" w="med" len="med"/>
                      <a:tailEnd type="none" w="med" len="med"/>
                    </a:lnT>
                    <a:lnB>
                      <a:noFill/>
                    </a:lnB>
                    <a:solidFill>
                      <a:srgbClr val="E6B4B4"/>
                    </a:solidFill>
                  </a:tcPr>
                </a:tc>
                <a:tc>
                  <a:txBody>
                    <a:bodyPr/>
                    <a:lstStyle/>
                    <a:p>
                      <a:pPr marL="0" marR="0" lvl="0" indent="0" algn="r" defTabSz="914400" rtl="0" eaLnBrk="1" fontAlgn="b" latinLnBrk="0" hangingPunct="1">
                        <a:lnSpc>
                          <a:spcPct val="100000"/>
                        </a:lnSpc>
                        <a:spcBef>
                          <a:spcPts val="0"/>
                        </a:spcBef>
                        <a:spcAft>
                          <a:spcPts val="0"/>
                        </a:spcAft>
                        <a:buClrTx/>
                        <a:buSzTx/>
                        <a:buFontTx/>
                        <a:buNone/>
                        <a:tabLst/>
                        <a:defRPr/>
                      </a:pPr>
                      <a:r>
                        <a:rPr lang="en-US" sz="1400" b="1" i="0" u="none" strike="noStrike" dirty="0">
                          <a:solidFill>
                            <a:schemeClr val="bg1"/>
                          </a:solidFill>
                          <a:effectLst/>
                          <a:latin typeface="Arial" panose="020B0604020202020204" pitchFamily="34" charset="0"/>
                        </a:rPr>
                        <a:t>$10,096</a:t>
                      </a:r>
                    </a:p>
                  </a:txBody>
                  <a:tcPr marL="6885" marR="6885" marT="6885" marB="0" anchor="b">
                    <a:lnL>
                      <a:noFill/>
                    </a:lnL>
                    <a:lnR>
                      <a:noFill/>
                    </a:lnR>
                    <a:lnT w="6350" cap="flat" cmpd="sng" algn="ctr">
                      <a:solidFill>
                        <a:srgbClr val="000000"/>
                      </a:solidFill>
                      <a:prstDash val="solid"/>
                      <a:round/>
                      <a:headEnd type="none" w="med" len="med"/>
                      <a:tailEnd type="none" w="med" len="med"/>
                    </a:lnT>
                    <a:lnB>
                      <a:noFill/>
                    </a:lnB>
                    <a:solidFill>
                      <a:srgbClr val="E6B4B4"/>
                    </a:solidFill>
                  </a:tcPr>
                </a:tc>
                <a:extLst>
                  <a:ext uri="{0D108BD9-81ED-4DB2-BD59-A6C34878D82A}">
                    <a16:rowId xmlns:a16="http://schemas.microsoft.com/office/drawing/2014/main" val="2259153833"/>
                  </a:ext>
                </a:extLst>
              </a:tr>
            </a:tbl>
          </a:graphicData>
        </a:graphic>
      </p:graphicFrame>
      <p:sp>
        <p:nvSpPr>
          <p:cNvPr id="6" name="Footer Placeholder 5">
            <a:extLst>
              <a:ext uri="{FF2B5EF4-FFF2-40B4-BE49-F238E27FC236}">
                <a16:creationId xmlns:a16="http://schemas.microsoft.com/office/drawing/2014/main" id="{912DD344-2CBC-AD8E-0366-5533EADC4472}"/>
              </a:ext>
            </a:extLst>
          </p:cNvPr>
          <p:cNvSpPr>
            <a:spLocks noGrp="1"/>
          </p:cNvSpPr>
          <p:nvPr>
            <p:ph type="ftr" sz="quarter" idx="11"/>
          </p:nvPr>
        </p:nvSpPr>
        <p:spPr/>
        <p:txBody>
          <a:bodyPr/>
          <a:lstStyle/>
          <a:p>
            <a:endParaRPr lang="en-US" dirty="0"/>
          </a:p>
        </p:txBody>
      </p:sp>
    </p:spTree>
    <p:extLst>
      <p:ext uri="{BB962C8B-B14F-4D97-AF65-F5344CB8AC3E}">
        <p14:creationId xmlns:p14="http://schemas.microsoft.com/office/powerpoint/2010/main" val="416437800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8318D2-27CA-1093-FF78-5FA568EAE6A6}"/>
              </a:ext>
            </a:extLst>
          </p:cNvPr>
          <p:cNvSpPr>
            <a:spLocks noGrp="1"/>
          </p:cNvSpPr>
          <p:nvPr>
            <p:ph type="title"/>
          </p:nvPr>
        </p:nvSpPr>
        <p:spPr>
          <a:xfrm>
            <a:off x="838200" y="365125"/>
            <a:ext cx="11221528" cy="1325563"/>
          </a:xfrm>
        </p:spPr>
        <p:txBody>
          <a:bodyPr/>
          <a:lstStyle/>
          <a:p>
            <a:r>
              <a:rPr lang="en-US" dirty="0"/>
              <a:t>Fall 2024 Programming, Networking, and Awards</a:t>
            </a:r>
          </a:p>
        </p:txBody>
      </p:sp>
      <p:sp>
        <p:nvSpPr>
          <p:cNvPr id="3" name="Content Placeholder 2">
            <a:extLst>
              <a:ext uri="{FF2B5EF4-FFF2-40B4-BE49-F238E27FC236}">
                <a16:creationId xmlns:a16="http://schemas.microsoft.com/office/drawing/2014/main" id="{524906C0-FE0A-0D9B-7E2C-BC148E7AA2C2}"/>
              </a:ext>
            </a:extLst>
          </p:cNvPr>
          <p:cNvSpPr>
            <a:spLocks noGrp="1"/>
          </p:cNvSpPr>
          <p:nvPr>
            <p:ph idx="1"/>
          </p:nvPr>
        </p:nvSpPr>
        <p:spPr>
          <a:xfrm>
            <a:off x="265877" y="1670712"/>
            <a:ext cx="6019800" cy="2383703"/>
          </a:xfrm>
        </p:spPr>
        <p:txBody>
          <a:bodyPr>
            <a:noAutofit/>
          </a:bodyPr>
          <a:lstStyle/>
          <a:p>
            <a:pPr marL="0" marR="0" indent="0">
              <a:spcBef>
                <a:spcPts val="0"/>
              </a:spcBef>
              <a:spcAft>
                <a:spcPts val="0"/>
              </a:spcAft>
              <a:buNone/>
            </a:pPr>
            <a:r>
              <a:rPr lang="en-US" sz="1800" b="1" dirty="0">
                <a:effectLst/>
                <a:latin typeface="Calibri" panose="020F0502020204030204" pitchFamily="34" charset="0"/>
                <a:ea typeface="Calibri" panose="020F0502020204030204" pitchFamily="34" charset="0"/>
              </a:rPr>
              <a:t>Industrial Polymer Scientist Award in honor of Carl L. Willis</a:t>
            </a:r>
          </a:p>
          <a:p>
            <a:pPr marL="0" indent="0">
              <a:spcBef>
                <a:spcPts val="0"/>
              </a:spcBef>
              <a:buNone/>
            </a:pPr>
            <a:r>
              <a:rPr lang="en-US" sz="1800" dirty="0">
                <a:effectLst/>
                <a:latin typeface="Calibri" panose="020F0502020204030204" pitchFamily="34" charset="0"/>
                <a:ea typeface="Times New Roman" panose="02020603050405020304" pitchFamily="18" charset="0"/>
              </a:rPr>
              <a:t>Monday, August 19</a:t>
            </a:r>
            <a:r>
              <a:rPr lang="en-US" sz="1800" baseline="30000" dirty="0">
                <a:effectLst/>
                <a:latin typeface="Calibri" panose="020F0502020204030204" pitchFamily="34" charset="0"/>
                <a:ea typeface="Times New Roman" panose="02020603050405020304" pitchFamily="18" charset="0"/>
              </a:rPr>
              <a:t>th</a:t>
            </a:r>
            <a:r>
              <a:rPr lang="en-US" sz="1800" dirty="0">
                <a:effectLst/>
                <a:latin typeface="Calibri" panose="020F0502020204030204" pitchFamily="34" charset="0"/>
                <a:ea typeface="Times New Roman" panose="02020603050405020304" pitchFamily="18" charset="0"/>
              </a:rPr>
              <a:t> </a:t>
            </a:r>
          </a:p>
          <a:p>
            <a:pPr marL="0" indent="0">
              <a:spcBef>
                <a:spcPts val="0"/>
              </a:spcBef>
              <a:buNone/>
            </a:pPr>
            <a:r>
              <a:rPr lang="en-US" sz="1800" dirty="0">
                <a:effectLst/>
                <a:latin typeface="Calibri" panose="020F0502020204030204" pitchFamily="34" charset="0"/>
                <a:ea typeface="Calibri" panose="020F0502020204030204" pitchFamily="34" charset="0"/>
              </a:rPr>
              <a:t>Organizers: Richard </a:t>
            </a:r>
            <a:r>
              <a:rPr lang="en-US" sz="1800" dirty="0" err="1">
                <a:effectLst/>
                <a:latin typeface="Calibri" panose="020F0502020204030204" pitchFamily="34" charset="0"/>
                <a:ea typeface="Calibri" panose="020F0502020204030204" pitchFamily="34" charset="0"/>
              </a:rPr>
              <a:t>Spontak</a:t>
            </a:r>
            <a:endParaRPr lang="en-US" sz="1800" dirty="0">
              <a:effectLst/>
              <a:latin typeface="Calibri" panose="020F0502020204030204" pitchFamily="34" charset="0"/>
              <a:ea typeface="Times New Roman" panose="02020603050405020304" pitchFamily="18" charset="0"/>
            </a:endParaRPr>
          </a:p>
          <a:p>
            <a:pPr marL="0" marR="0" indent="0">
              <a:spcBef>
                <a:spcPts val="0"/>
              </a:spcBef>
              <a:spcAft>
                <a:spcPts val="0"/>
              </a:spcAft>
              <a:buNone/>
            </a:pPr>
            <a:r>
              <a:rPr lang="en-US" sz="1800" dirty="0">
                <a:effectLst/>
                <a:latin typeface="Calibri" panose="020F0502020204030204" pitchFamily="34" charset="0"/>
                <a:ea typeface="Calibri" panose="020F0502020204030204" pitchFamily="34" charset="0"/>
              </a:rPr>
              <a:t>Governor's Square 10 (Sheraton Denver Downtown Hotel)</a:t>
            </a:r>
          </a:p>
          <a:p>
            <a:pPr marL="0" marR="0" indent="0">
              <a:spcBef>
                <a:spcPts val="0"/>
              </a:spcBef>
              <a:spcAft>
                <a:spcPts val="0"/>
              </a:spcAft>
              <a:buNone/>
            </a:pPr>
            <a:endParaRPr lang="en-US" sz="1800" b="1" dirty="0">
              <a:effectLst/>
              <a:latin typeface="Calibri" panose="020F0502020204030204" pitchFamily="34" charset="0"/>
              <a:ea typeface="Times New Roman" panose="02020603050405020304" pitchFamily="18" charset="0"/>
            </a:endParaRPr>
          </a:p>
          <a:p>
            <a:pPr marL="0" marR="0" indent="0">
              <a:spcBef>
                <a:spcPts val="0"/>
              </a:spcBef>
              <a:spcAft>
                <a:spcPts val="0"/>
              </a:spcAft>
              <a:buNone/>
            </a:pPr>
            <a:endParaRPr lang="en-US" sz="1800" b="1" dirty="0">
              <a:latin typeface="Calibri" panose="020F0502020204030204" pitchFamily="34" charset="0"/>
              <a:ea typeface="Times New Roman" panose="02020603050405020304" pitchFamily="18" charset="0"/>
            </a:endParaRPr>
          </a:p>
          <a:p>
            <a:pPr marL="0" marR="0" indent="0">
              <a:spcBef>
                <a:spcPts val="0"/>
              </a:spcBef>
              <a:spcAft>
                <a:spcPts val="0"/>
              </a:spcAft>
              <a:buNone/>
            </a:pPr>
            <a:r>
              <a:rPr lang="en-US" sz="1800" b="1" dirty="0">
                <a:effectLst/>
                <a:latin typeface="Calibri" panose="020F0502020204030204" pitchFamily="34" charset="0"/>
                <a:ea typeface="Times New Roman" panose="02020603050405020304" pitchFamily="18" charset="0"/>
              </a:rPr>
              <a:t>“Industrial Innovations in Polymer Science” symposium</a:t>
            </a:r>
          </a:p>
          <a:p>
            <a:pPr marL="0" marR="0" indent="0">
              <a:spcBef>
                <a:spcPts val="0"/>
              </a:spcBef>
              <a:spcAft>
                <a:spcPts val="0"/>
              </a:spcAft>
              <a:buNone/>
            </a:pPr>
            <a:r>
              <a:rPr lang="en-US" sz="1800" dirty="0">
                <a:effectLst/>
                <a:latin typeface="Calibri" panose="020F0502020204030204" pitchFamily="34" charset="0"/>
                <a:ea typeface="Calibri" panose="020F0502020204030204" pitchFamily="34" charset="0"/>
              </a:rPr>
              <a:t>Organizers: Michael Petr, Julienne </a:t>
            </a:r>
            <a:r>
              <a:rPr lang="en-US" sz="1800" dirty="0" err="1">
                <a:effectLst/>
                <a:latin typeface="Calibri" panose="020F0502020204030204" pitchFamily="34" charset="0"/>
                <a:ea typeface="Calibri" panose="020F0502020204030204" pitchFamily="34" charset="0"/>
              </a:rPr>
              <a:t>Regele</a:t>
            </a:r>
            <a:r>
              <a:rPr lang="en-US" sz="1800" dirty="0">
                <a:effectLst/>
                <a:latin typeface="Calibri" panose="020F0502020204030204" pitchFamily="34" charset="0"/>
                <a:ea typeface="Calibri" panose="020F0502020204030204" pitchFamily="34" charset="0"/>
              </a:rPr>
              <a:t>, Dayton Street</a:t>
            </a:r>
          </a:p>
          <a:p>
            <a:pPr marL="0" marR="0" indent="0">
              <a:spcBef>
                <a:spcPts val="0"/>
              </a:spcBef>
              <a:spcAft>
                <a:spcPts val="0"/>
              </a:spcAft>
              <a:buNone/>
            </a:pPr>
            <a:r>
              <a:rPr lang="en-US" sz="1800" dirty="0">
                <a:effectLst/>
                <a:latin typeface="Calibri" panose="020F0502020204030204" pitchFamily="34" charset="0"/>
                <a:ea typeface="Times New Roman" panose="02020603050405020304" pitchFamily="18" charset="0"/>
              </a:rPr>
              <a:t>Monday, August 19</a:t>
            </a:r>
            <a:r>
              <a:rPr lang="en-US" sz="1800" baseline="30000" dirty="0">
                <a:effectLst/>
                <a:latin typeface="Calibri" panose="020F0502020204030204" pitchFamily="34" charset="0"/>
                <a:ea typeface="Times New Roman" panose="02020603050405020304" pitchFamily="18" charset="0"/>
              </a:rPr>
              <a:t>th</a:t>
            </a:r>
            <a:r>
              <a:rPr lang="en-US" sz="1800" dirty="0">
                <a:effectLst/>
                <a:latin typeface="Calibri" panose="020F0502020204030204" pitchFamily="34" charset="0"/>
                <a:ea typeface="Times New Roman" panose="02020603050405020304" pitchFamily="18" charset="0"/>
              </a:rPr>
              <a:t> </a:t>
            </a:r>
          </a:p>
          <a:p>
            <a:pPr marL="0" marR="0" indent="0">
              <a:spcBef>
                <a:spcPts val="0"/>
              </a:spcBef>
              <a:spcAft>
                <a:spcPts val="0"/>
              </a:spcAft>
              <a:buNone/>
            </a:pPr>
            <a:r>
              <a:rPr lang="en-US" sz="1800" dirty="0">
                <a:latin typeface="Calibri" panose="020F0502020204030204" pitchFamily="34" charset="0"/>
                <a:ea typeface="Calibri" panose="020F0502020204030204" pitchFamily="34" charset="0"/>
              </a:rPr>
              <a:t>Governor's Square 10 (Sheraton Denver Downtown Hotel)</a:t>
            </a:r>
          </a:p>
          <a:p>
            <a:pPr marL="0" marR="0" indent="0">
              <a:spcBef>
                <a:spcPts val="0"/>
              </a:spcBef>
              <a:spcAft>
                <a:spcPts val="0"/>
              </a:spcAft>
              <a:buNone/>
            </a:pPr>
            <a:endParaRPr lang="en-US" sz="1800" dirty="0">
              <a:latin typeface="Calibri" panose="020F0502020204030204" pitchFamily="34" charset="0"/>
              <a:ea typeface="Calibri" panose="020F0502020204030204" pitchFamily="34" charset="0"/>
            </a:endParaRPr>
          </a:p>
          <a:p>
            <a:pPr marL="0" indent="0">
              <a:spcBef>
                <a:spcPts val="0"/>
              </a:spcBef>
              <a:buNone/>
            </a:pPr>
            <a:r>
              <a:rPr lang="en-US" sz="1800" dirty="0">
                <a:effectLst/>
                <a:latin typeface="Calibri" panose="020F0502020204030204" pitchFamily="34" charset="0"/>
                <a:ea typeface="Calibri" panose="020F0502020204030204" pitchFamily="34" charset="0"/>
                <a:cs typeface="Times New Roman" panose="02020603050405020304" pitchFamily="18" charset="0"/>
              </a:rPr>
              <a:t>“</a:t>
            </a:r>
            <a:r>
              <a:rPr lang="en-US" sz="1800" b="1" dirty="0">
                <a:latin typeface="Calibri" panose="020F0502020204030204" pitchFamily="34" charset="0"/>
              </a:rPr>
              <a:t>Elevating the Power of Data for Materials and Chemical Scientists” </a:t>
            </a:r>
          </a:p>
          <a:p>
            <a:pPr marL="0" marR="0" indent="0">
              <a:spcBef>
                <a:spcPts val="0"/>
              </a:spcBef>
              <a:spcAft>
                <a:spcPts val="0"/>
              </a:spcAft>
              <a:buNone/>
            </a:pPr>
            <a:r>
              <a:rPr lang="en-US" sz="1800" dirty="0">
                <a:effectLst/>
                <a:latin typeface="Calibri" panose="020F0502020204030204" pitchFamily="34" charset="0"/>
                <a:ea typeface="Calibri" panose="020F0502020204030204" pitchFamily="34" charset="0"/>
              </a:rPr>
              <a:t>Organizers: Michael </a:t>
            </a:r>
            <a:r>
              <a:rPr lang="en-US" sz="1800" dirty="0" err="1">
                <a:effectLst/>
                <a:latin typeface="Calibri" panose="020F0502020204030204" pitchFamily="34" charset="0"/>
                <a:ea typeface="Calibri" panose="020F0502020204030204" pitchFamily="34" charset="0"/>
              </a:rPr>
              <a:t>Heiber</a:t>
            </a:r>
            <a:r>
              <a:rPr lang="en-US" sz="1800" dirty="0">
                <a:latin typeface="Calibri" panose="020F0502020204030204" pitchFamily="34" charset="0"/>
                <a:ea typeface="Calibri" panose="020F0502020204030204" pitchFamily="34" charset="0"/>
              </a:rPr>
              <a:t>, </a:t>
            </a:r>
            <a:r>
              <a:rPr lang="en-US" sz="1800" dirty="0">
                <a:effectLst/>
                <a:latin typeface="Calibri" panose="020F0502020204030204" pitchFamily="34" charset="0"/>
                <a:ea typeface="Calibri" panose="020F0502020204030204" pitchFamily="34" charset="0"/>
              </a:rPr>
              <a:t> Alix Schmidt,  Jeffrey Ting</a:t>
            </a:r>
          </a:p>
          <a:p>
            <a:pPr marL="0" marR="0" indent="0">
              <a:spcBef>
                <a:spcPts val="0"/>
              </a:spcBef>
              <a:spcAft>
                <a:spcPts val="0"/>
              </a:spcAft>
              <a:buNone/>
            </a:pPr>
            <a:r>
              <a:rPr lang="en-US" sz="1800">
                <a:latin typeface="Calibri" panose="020F0502020204030204" pitchFamily="34" charset="0"/>
                <a:ea typeface="Times New Roman" panose="02020603050405020304" pitchFamily="18" charset="0"/>
              </a:rPr>
              <a:t>Wednesday, </a:t>
            </a:r>
            <a:r>
              <a:rPr lang="en-US" sz="1800" dirty="0">
                <a:latin typeface="Calibri" panose="020F0502020204030204" pitchFamily="34" charset="0"/>
                <a:ea typeface="Times New Roman" panose="02020603050405020304" pitchFamily="18" charset="0"/>
              </a:rPr>
              <a:t>August 21</a:t>
            </a:r>
            <a:r>
              <a:rPr lang="en-US" sz="1800" baseline="30000" dirty="0">
                <a:latin typeface="Calibri" panose="020F0502020204030204" pitchFamily="34" charset="0"/>
                <a:ea typeface="Times New Roman" panose="02020603050405020304" pitchFamily="18" charset="0"/>
              </a:rPr>
              <a:t>st</a:t>
            </a:r>
            <a:r>
              <a:rPr lang="en-US" sz="1800" dirty="0">
                <a:latin typeface="Calibri" panose="020F0502020204030204" pitchFamily="34" charset="0"/>
                <a:ea typeface="Times New Roman" panose="02020603050405020304" pitchFamily="18" charset="0"/>
              </a:rPr>
              <a:t> </a:t>
            </a:r>
            <a:endParaRPr lang="en-US" sz="1800" dirty="0">
              <a:effectLst/>
              <a:latin typeface="Calibri" panose="020F0502020204030204" pitchFamily="34" charset="0"/>
              <a:ea typeface="Times New Roman" panose="02020603050405020304" pitchFamily="18" charset="0"/>
            </a:endParaRPr>
          </a:p>
          <a:p>
            <a:pPr marL="0" marR="0" indent="0">
              <a:spcBef>
                <a:spcPts val="0"/>
              </a:spcBef>
              <a:spcAft>
                <a:spcPts val="0"/>
              </a:spcAft>
              <a:buNone/>
            </a:pPr>
            <a:r>
              <a:rPr lang="en-US" sz="1800" dirty="0">
                <a:latin typeface="Calibri" panose="020F0502020204030204" pitchFamily="34" charset="0"/>
                <a:ea typeface="Calibri" panose="020F0502020204030204" pitchFamily="34" charset="0"/>
              </a:rPr>
              <a:t>Grand Ballroom I (Sheraton Denver Downtown Hotel)</a:t>
            </a:r>
          </a:p>
          <a:p>
            <a:pPr marL="0" marR="0" indent="0">
              <a:spcBef>
                <a:spcPts val="0"/>
              </a:spcBef>
              <a:spcAft>
                <a:spcPts val="0"/>
              </a:spcAft>
              <a:buNone/>
            </a:pPr>
            <a:endParaRPr lang="en-US" sz="1800" dirty="0">
              <a:effectLst/>
              <a:latin typeface="Calibri" panose="020F0502020204030204" pitchFamily="34" charset="0"/>
              <a:ea typeface="Calibri" panose="020F0502020204030204" pitchFamily="34" charset="0"/>
            </a:endParaRPr>
          </a:p>
          <a:p>
            <a:pPr marL="0" marR="0" indent="0">
              <a:spcBef>
                <a:spcPts val="0"/>
              </a:spcBef>
              <a:spcAft>
                <a:spcPts val="0"/>
              </a:spcAft>
              <a:buNone/>
            </a:pPr>
            <a:endParaRPr lang="en-US" sz="1800" dirty="0">
              <a:effectLst/>
              <a:latin typeface="Calibri" panose="020F0502020204030204" pitchFamily="34" charset="0"/>
              <a:ea typeface="Calibri" panose="020F0502020204030204" pitchFamily="34" charset="0"/>
            </a:endParaRPr>
          </a:p>
          <a:p>
            <a:pPr marL="0" marR="0" indent="0">
              <a:spcBef>
                <a:spcPts val="0"/>
              </a:spcBef>
              <a:spcAft>
                <a:spcPts val="0"/>
              </a:spcAft>
              <a:buNone/>
            </a:pPr>
            <a:endParaRPr lang="en-US" sz="1800" dirty="0">
              <a:effectLst/>
              <a:latin typeface="Calibri" panose="020F0502020204030204" pitchFamily="34" charset="0"/>
              <a:ea typeface="Calibri" panose="020F0502020204030204" pitchFamily="34" charset="0"/>
            </a:endParaRPr>
          </a:p>
        </p:txBody>
      </p:sp>
      <p:sp>
        <p:nvSpPr>
          <p:cNvPr id="4" name="Footer Placeholder 3">
            <a:extLst>
              <a:ext uri="{FF2B5EF4-FFF2-40B4-BE49-F238E27FC236}">
                <a16:creationId xmlns:a16="http://schemas.microsoft.com/office/drawing/2014/main" id="{47804D60-C3C4-F00A-63D3-1ECF3381519B}"/>
              </a:ext>
            </a:extLst>
          </p:cNvPr>
          <p:cNvSpPr>
            <a:spLocks noGrp="1"/>
          </p:cNvSpPr>
          <p:nvPr>
            <p:ph type="ftr" sz="quarter" idx="11"/>
          </p:nvPr>
        </p:nvSpPr>
        <p:spPr/>
        <p:txBody>
          <a:bodyPr/>
          <a:lstStyle/>
          <a:p>
            <a:endParaRPr lang="en-US" dirty="0"/>
          </a:p>
        </p:txBody>
      </p:sp>
      <p:sp>
        <p:nvSpPr>
          <p:cNvPr id="5" name="Content Placeholder 2">
            <a:extLst>
              <a:ext uri="{FF2B5EF4-FFF2-40B4-BE49-F238E27FC236}">
                <a16:creationId xmlns:a16="http://schemas.microsoft.com/office/drawing/2014/main" id="{26A9F31A-C0C8-7093-CC72-DD6F349CFBAF}"/>
              </a:ext>
            </a:extLst>
          </p:cNvPr>
          <p:cNvSpPr txBox="1">
            <a:spLocks/>
          </p:cNvSpPr>
          <p:nvPr/>
        </p:nvSpPr>
        <p:spPr>
          <a:xfrm>
            <a:off x="6132044" y="1615819"/>
            <a:ext cx="5794079" cy="4465804"/>
          </a:xfrm>
          <a:prstGeom prst="rect">
            <a:avLst/>
          </a:prstGeom>
        </p:spPr>
        <p:txBody>
          <a:bodyPr vert="horz" lIns="91440" tIns="45720" rIns="91440" bIns="45720" rtlCol="0">
            <a:normAutofit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ts val="0"/>
              </a:spcBef>
              <a:buNone/>
            </a:pPr>
            <a:r>
              <a:rPr lang="en-US" sz="1800" b="1" dirty="0">
                <a:latin typeface="Calibri" panose="020F0502020204030204" pitchFamily="34" charset="0"/>
                <a:ea typeface="Times New Roman" panose="02020603050405020304" pitchFamily="18" charset="0"/>
              </a:rPr>
              <a:t>IAB Networking Reception</a:t>
            </a:r>
            <a:endParaRPr lang="en-US" sz="1800" dirty="0">
              <a:latin typeface="Calibri" panose="020F0502020204030204" pitchFamily="34" charset="0"/>
              <a:ea typeface="Calibri" panose="020F0502020204030204" pitchFamily="34" charset="0"/>
            </a:endParaRPr>
          </a:p>
          <a:p>
            <a:pPr marL="0" indent="0">
              <a:spcBef>
                <a:spcPts val="0"/>
              </a:spcBef>
              <a:buNone/>
            </a:pPr>
            <a:r>
              <a:rPr lang="en-US" sz="1800" dirty="0">
                <a:effectLst/>
                <a:latin typeface="Calibri" panose="020F0502020204030204" pitchFamily="34" charset="0"/>
                <a:ea typeface="Times New Roman" panose="02020603050405020304" pitchFamily="18" charset="0"/>
              </a:rPr>
              <a:t>Monday, August 19</a:t>
            </a:r>
            <a:r>
              <a:rPr lang="en-US" sz="1800" baseline="30000" dirty="0">
                <a:effectLst/>
                <a:latin typeface="Calibri" panose="020F0502020204030204" pitchFamily="34" charset="0"/>
                <a:ea typeface="Times New Roman" panose="02020603050405020304" pitchFamily="18" charset="0"/>
              </a:rPr>
              <a:t>th</a:t>
            </a:r>
            <a:r>
              <a:rPr lang="en-US" sz="1800" dirty="0">
                <a:effectLst/>
                <a:latin typeface="Calibri" panose="020F0502020204030204" pitchFamily="34" charset="0"/>
                <a:ea typeface="Times New Roman" panose="02020603050405020304" pitchFamily="18" charset="0"/>
              </a:rPr>
              <a:t> </a:t>
            </a:r>
            <a:r>
              <a:rPr lang="en-US" sz="1800" dirty="0">
                <a:latin typeface="Calibri" panose="020F0502020204030204" pitchFamily="34" charset="0"/>
                <a:ea typeface="Times New Roman" panose="02020603050405020304" pitchFamily="18" charset="0"/>
              </a:rPr>
              <a:t>, </a:t>
            </a:r>
            <a:r>
              <a:rPr lang="en-US" sz="1800" dirty="0">
                <a:latin typeface="Calibri" panose="020F0502020204030204" pitchFamily="34" charset="0"/>
                <a:ea typeface="Calibri" panose="020F0502020204030204" pitchFamily="34" charset="0"/>
              </a:rPr>
              <a:t>6:00-8:00 pm</a:t>
            </a:r>
          </a:p>
          <a:p>
            <a:pPr marL="0" indent="0">
              <a:spcBef>
                <a:spcPts val="0"/>
              </a:spcBef>
              <a:buNone/>
            </a:pPr>
            <a:r>
              <a:rPr lang="en-US" sz="1800" dirty="0">
                <a:latin typeface="Calibri" panose="020F0502020204030204" pitchFamily="34" charset="0"/>
                <a:ea typeface="Times New Roman" panose="02020603050405020304" pitchFamily="18" charset="0"/>
              </a:rPr>
              <a:t>The Corner Office Restaurant &amp; Martini Bar </a:t>
            </a:r>
          </a:p>
          <a:p>
            <a:pPr marL="0" indent="0">
              <a:spcBef>
                <a:spcPts val="0"/>
              </a:spcBef>
              <a:buNone/>
            </a:pPr>
            <a:r>
              <a:rPr lang="en-US" sz="1800" dirty="0">
                <a:latin typeface="Calibri" panose="020F0502020204030204" pitchFamily="34" charset="0"/>
                <a:ea typeface="Times New Roman" panose="02020603050405020304" pitchFamily="18" charset="0"/>
              </a:rPr>
              <a:t>(1401 Curtis Street, Denver, CO 80202) </a:t>
            </a:r>
          </a:p>
          <a:p>
            <a:pPr marL="0" indent="0">
              <a:spcBef>
                <a:spcPts val="0"/>
              </a:spcBef>
              <a:buNone/>
            </a:pPr>
            <a:endParaRPr lang="en-US" sz="1800" dirty="0">
              <a:latin typeface="Calibri" panose="020F0502020204030204" pitchFamily="34" charset="0"/>
              <a:ea typeface="Calibri" panose="020F0502020204030204" pitchFamily="34" charset="0"/>
            </a:endParaRPr>
          </a:p>
          <a:p>
            <a:pPr marL="0">
              <a:spcBef>
                <a:spcPts val="0"/>
              </a:spcBef>
            </a:pPr>
            <a:endParaRPr lang="en-US" sz="1800" dirty="0">
              <a:latin typeface="Calibri" panose="020F0502020204030204" pitchFamily="34" charset="0"/>
              <a:ea typeface="Calibri" panose="020F0502020204030204" pitchFamily="34" charset="0"/>
            </a:endParaRPr>
          </a:p>
          <a:p>
            <a:pPr marL="0" indent="0">
              <a:spcBef>
                <a:spcPts val="0"/>
              </a:spcBef>
              <a:buNone/>
            </a:pPr>
            <a:r>
              <a:rPr lang="en-US" sz="1800" b="1" dirty="0">
                <a:latin typeface="Calibri" panose="020F0502020204030204" pitchFamily="34" charset="0"/>
                <a:ea typeface="Times New Roman" panose="02020603050405020304" pitchFamily="18" charset="0"/>
              </a:rPr>
              <a:t>Industrial Advisory Board Meeting</a:t>
            </a:r>
            <a:endParaRPr lang="en-US" sz="1800" dirty="0">
              <a:latin typeface="Calibri" panose="020F0502020204030204" pitchFamily="34" charset="0"/>
              <a:ea typeface="Calibri" panose="020F0502020204030204" pitchFamily="34" charset="0"/>
            </a:endParaRPr>
          </a:p>
          <a:p>
            <a:pPr marL="0" indent="0">
              <a:spcBef>
                <a:spcPts val="0"/>
              </a:spcBef>
              <a:buNone/>
            </a:pPr>
            <a:r>
              <a:rPr lang="en-US" sz="1800" dirty="0">
                <a:latin typeface="Calibri" panose="020F0502020204030204" pitchFamily="34" charset="0"/>
                <a:ea typeface="Times New Roman" panose="02020603050405020304" pitchFamily="18" charset="0"/>
              </a:rPr>
              <a:t>Tuesday, August 20</a:t>
            </a:r>
            <a:r>
              <a:rPr lang="en-US" sz="1800" baseline="30000" dirty="0">
                <a:latin typeface="Calibri" panose="020F0502020204030204" pitchFamily="34" charset="0"/>
                <a:ea typeface="Times New Roman" panose="02020603050405020304" pitchFamily="18" charset="0"/>
              </a:rPr>
              <a:t>th</a:t>
            </a:r>
            <a:r>
              <a:rPr lang="en-US" sz="1800" dirty="0">
                <a:latin typeface="Calibri" panose="020F0502020204030204" pitchFamily="34" charset="0"/>
                <a:ea typeface="Times New Roman" panose="02020603050405020304" pitchFamily="18" charset="0"/>
              </a:rPr>
              <a:t> (continental breakfast), 7:30 am</a:t>
            </a:r>
          </a:p>
          <a:p>
            <a:pPr marL="0" indent="0">
              <a:spcBef>
                <a:spcPts val="0"/>
              </a:spcBef>
              <a:buNone/>
            </a:pPr>
            <a:r>
              <a:rPr lang="en-US" sz="1800" dirty="0">
                <a:latin typeface="Calibri" panose="020F0502020204030204" pitchFamily="34" charset="0"/>
                <a:ea typeface="Times New Roman" panose="02020603050405020304" pitchFamily="18" charset="0"/>
              </a:rPr>
              <a:t>Beverly Room (Sheraton Denver Downtown Hotel)</a:t>
            </a:r>
          </a:p>
          <a:p>
            <a:pPr marL="0" indent="0">
              <a:spcBef>
                <a:spcPts val="0"/>
              </a:spcBef>
              <a:buNone/>
            </a:pPr>
            <a:r>
              <a:rPr lang="en-US" sz="1800" dirty="0">
                <a:latin typeface="Calibri" panose="020F0502020204030204" pitchFamily="34" charset="0"/>
              </a:rPr>
              <a:t>IAB and ExCom Members only</a:t>
            </a:r>
          </a:p>
          <a:p>
            <a:pPr marL="0" indent="0">
              <a:spcBef>
                <a:spcPts val="0"/>
              </a:spcBef>
              <a:buNone/>
            </a:pPr>
            <a:endParaRPr lang="en-US" sz="1800" dirty="0">
              <a:latin typeface="Calibri" panose="020F0502020204030204" pitchFamily="34" charset="0"/>
            </a:endParaRPr>
          </a:p>
          <a:p>
            <a:pPr marL="0" indent="0">
              <a:spcBef>
                <a:spcPts val="0"/>
              </a:spcBef>
              <a:buNone/>
            </a:pPr>
            <a:endParaRPr lang="en-US" sz="1800" dirty="0">
              <a:latin typeface="Calibri" panose="020F0502020204030204" pitchFamily="34" charset="0"/>
            </a:endParaRPr>
          </a:p>
          <a:p>
            <a:pPr marL="0" indent="0">
              <a:spcBef>
                <a:spcPts val="0"/>
              </a:spcBef>
              <a:buNone/>
            </a:pPr>
            <a:endParaRPr lang="en-US" sz="1800" dirty="0">
              <a:latin typeface="Calibri" panose="020F0502020204030204" pitchFamily="34" charset="0"/>
            </a:endParaRPr>
          </a:p>
          <a:p>
            <a:pPr marL="0" indent="0">
              <a:spcBef>
                <a:spcPts val="0"/>
              </a:spcBef>
              <a:buNone/>
            </a:pPr>
            <a:r>
              <a:rPr lang="en-US" sz="3900" b="1" dirty="0">
                <a:latin typeface="Calibri" panose="020F0502020204030204" pitchFamily="34" charset="0"/>
              </a:rPr>
              <a:t>Reminder that YIPS Award deadline is October 31, 2024</a:t>
            </a:r>
          </a:p>
          <a:p>
            <a:pPr marL="0" indent="0">
              <a:spcBef>
                <a:spcPts val="0"/>
              </a:spcBef>
              <a:buNone/>
            </a:pPr>
            <a:endParaRPr lang="en-US" dirty="0">
              <a:highlight>
                <a:srgbClr val="FF00FF"/>
              </a:highlight>
            </a:endParaRPr>
          </a:p>
        </p:txBody>
      </p:sp>
    </p:spTree>
    <p:extLst>
      <p:ext uri="{BB962C8B-B14F-4D97-AF65-F5344CB8AC3E}">
        <p14:creationId xmlns:p14="http://schemas.microsoft.com/office/powerpoint/2010/main" val="418854229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079252ED-5D8B-3AC3-AF1F-B378BC03E2BD}"/>
              </a:ext>
            </a:extLst>
          </p:cNvPr>
          <p:cNvSpPr>
            <a:spLocks noGrp="1"/>
          </p:cNvSpPr>
          <p:nvPr>
            <p:ph type="body" idx="1"/>
          </p:nvPr>
        </p:nvSpPr>
        <p:spPr/>
        <p:txBody>
          <a:bodyPr/>
          <a:lstStyle/>
          <a:p>
            <a:endParaRPr lang="en-US"/>
          </a:p>
        </p:txBody>
      </p:sp>
      <p:sp>
        <p:nvSpPr>
          <p:cNvPr id="3" name="Text Placeholder 2">
            <a:extLst>
              <a:ext uri="{FF2B5EF4-FFF2-40B4-BE49-F238E27FC236}">
                <a16:creationId xmlns:a16="http://schemas.microsoft.com/office/drawing/2014/main" id="{035ACAEB-9B40-A7DC-C528-BC928F53641E}"/>
              </a:ext>
            </a:extLst>
          </p:cNvPr>
          <p:cNvSpPr>
            <a:spLocks noGrp="1"/>
          </p:cNvSpPr>
          <p:nvPr>
            <p:ph type="body" idx="2"/>
          </p:nvPr>
        </p:nvSpPr>
        <p:spPr/>
        <p:txBody>
          <a:bodyPr/>
          <a:lstStyle/>
          <a:p>
            <a:endParaRPr lang="en-US" dirty="0"/>
          </a:p>
        </p:txBody>
      </p:sp>
      <p:sp>
        <p:nvSpPr>
          <p:cNvPr id="4" name="Text Placeholder 1">
            <a:extLst>
              <a:ext uri="{FF2B5EF4-FFF2-40B4-BE49-F238E27FC236}">
                <a16:creationId xmlns:a16="http://schemas.microsoft.com/office/drawing/2014/main" id="{9781D278-28AD-4383-82F8-929245C973C1}"/>
              </a:ext>
            </a:extLst>
          </p:cNvPr>
          <p:cNvSpPr>
            <a:spLocks noGrp="1"/>
          </p:cNvSpPr>
          <p:nvPr/>
        </p:nvSpPr>
        <p:spPr>
          <a:xfrm>
            <a:off x="674688" y="681233"/>
            <a:ext cx="10625137" cy="543017"/>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2800" b="1"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US" dirty="0"/>
              <a:t>2024 Fall POLY Graduate Student Travel Award</a:t>
            </a:r>
          </a:p>
          <a:p>
            <a:endParaRPr lang="en-US" dirty="0"/>
          </a:p>
        </p:txBody>
      </p:sp>
      <p:sp>
        <p:nvSpPr>
          <p:cNvPr id="5" name="Text Placeholder 2">
            <a:extLst>
              <a:ext uri="{FF2B5EF4-FFF2-40B4-BE49-F238E27FC236}">
                <a16:creationId xmlns:a16="http://schemas.microsoft.com/office/drawing/2014/main" id="{ED34CCA1-AC15-4C8A-AC77-78A8AC76EC56}"/>
              </a:ext>
            </a:extLst>
          </p:cNvPr>
          <p:cNvSpPr>
            <a:spLocks noGrp="1"/>
          </p:cNvSpPr>
          <p:nvPr/>
        </p:nvSpPr>
        <p:spPr>
          <a:xfrm>
            <a:off x="3240044" y="1864851"/>
            <a:ext cx="2916738" cy="1413710"/>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2000" b="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u="sng" dirty="0"/>
              <a:t>Isabel Coutinho </a:t>
            </a:r>
          </a:p>
          <a:p>
            <a:r>
              <a:rPr lang="en-US" dirty="0"/>
              <a:t>Virginia Tech</a:t>
            </a:r>
          </a:p>
          <a:p>
            <a:endParaRPr lang="en-US" dirty="0"/>
          </a:p>
        </p:txBody>
      </p:sp>
      <p:sp>
        <p:nvSpPr>
          <p:cNvPr id="6" name="Text Placeholder 2">
            <a:extLst>
              <a:ext uri="{FF2B5EF4-FFF2-40B4-BE49-F238E27FC236}">
                <a16:creationId xmlns:a16="http://schemas.microsoft.com/office/drawing/2014/main" id="{99701EF6-17CE-78E2-1349-900AB9480885}"/>
              </a:ext>
            </a:extLst>
          </p:cNvPr>
          <p:cNvSpPr txBox="1">
            <a:spLocks/>
          </p:cNvSpPr>
          <p:nvPr/>
        </p:nvSpPr>
        <p:spPr>
          <a:xfrm>
            <a:off x="8510290" y="1864851"/>
            <a:ext cx="2968875" cy="141371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u="sng" dirty="0"/>
              <a:t>Daniel Inman</a:t>
            </a:r>
          </a:p>
          <a:p>
            <a:r>
              <a:rPr lang="en-US" dirty="0"/>
              <a:t>University of Alabama</a:t>
            </a:r>
          </a:p>
          <a:p>
            <a:r>
              <a:rPr lang="en-US" dirty="0"/>
              <a:t>at Birmingham</a:t>
            </a:r>
          </a:p>
          <a:p>
            <a:endParaRPr lang="en-US" dirty="0"/>
          </a:p>
        </p:txBody>
      </p:sp>
      <p:sp>
        <p:nvSpPr>
          <p:cNvPr id="7" name="Text Placeholder 2">
            <a:extLst>
              <a:ext uri="{FF2B5EF4-FFF2-40B4-BE49-F238E27FC236}">
                <a16:creationId xmlns:a16="http://schemas.microsoft.com/office/drawing/2014/main" id="{14C0ADAC-DE29-9410-A193-7E3F75F971B4}"/>
              </a:ext>
            </a:extLst>
          </p:cNvPr>
          <p:cNvSpPr txBox="1">
            <a:spLocks/>
          </p:cNvSpPr>
          <p:nvPr/>
        </p:nvSpPr>
        <p:spPr>
          <a:xfrm>
            <a:off x="0" y="4166702"/>
            <a:ext cx="12192000" cy="141371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spcBef>
                <a:spcPts val="0"/>
              </a:spcBef>
            </a:pPr>
            <a:r>
              <a:rPr lang="en-US" i="1" dirty="0"/>
              <a:t>Provides funding for graduate students studying polymer science at US institutions </a:t>
            </a:r>
          </a:p>
          <a:p>
            <a:pPr algn="ctr">
              <a:spcBef>
                <a:spcPts val="0"/>
              </a:spcBef>
            </a:pPr>
            <a:r>
              <a:rPr lang="en-US" i="1" dirty="0"/>
              <a:t>to travel to national ACS meetings and present their results (poster or oral presentation).</a:t>
            </a:r>
          </a:p>
          <a:p>
            <a:pPr>
              <a:spcBef>
                <a:spcPts val="0"/>
              </a:spcBef>
            </a:pPr>
            <a:r>
              <a:rPr lang="en-US" i="1" dirty="0"/>
              <a:t>				     </a:t>
            </a:r>
          </a:p>
          <a:p>
            <a:pPr>
              <a:spcBef>
                <a:spcPts val="0"/>
              </a:spcBef>
            </a:pPr>
            <a:r>
              <a:rPr lang="en-US" dirty="0"/>
              <a:t>				</a:t>
            </a:r>
          </a:p>
        </p:txBody>
      </p:sp>
      <p:pic>
        <p:nvPicPr>
          <p:cNvPr id="8" name="Picture 7" descr="A blue and black sign with yellow text&#10;&#10;Description automatically generated">
            <a:extLst>
              <a:ext uri="{FF2B5EF4-FFF2-40B4-BE49-F238E27FC236}">
                <a16:creationId xmlns:a16="http://schemas.microsoft.com/office/drawing/2014/main" id="{A7C1C499-C6EB-1B97-A172-6793B0C676F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246150" y="55519"/>
            <a:ext cx="922109" cy="1192711"/>
          </a:xfrm>
          <a:prstGeom prst="rect">
            <a:avLst/>
          </a:prstGeom>
        </p:spPr>
      </p:pic>
      <p:pic>
        <p:nvPicPr>
          <p:cNvPr id="9" name="Picture 8" descr="A person wearing glasses smiling&#10;&#10;Description automatically generated">
            <a:extLst>
              <a:ext uri="{FF2B5EF4-FFF2-40B4-BE49-F238E27FC236}">
                <a16:creationId xmlns:a16="http://schemas.microsoft.com/office/drawing/2014/main" id="{B3BAC73E-9FB7-7BAD-1176-5A2F3AF90D5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83210" y="1492140"/>
            <a:ext cx="2191789" cy="2521527"/>
          </a:xfrm>
          <a:prstGeom prst="rect">
            <a:avLst/>
          </a:prstGeom>
        </p:spPr>
      </p:pic>
      <p:pic>
        <p:nvPicPr>
          <p:cNvPr id="10" name="Picture 9" descr="A person wearing glasses and a green shirt&#10;&#10;Description automatically generated">
            <a:extLst>
              <a:ext uri="{FF2B5EF4-FFF2-40B4-BE49-F238E27FC236}">
                <a16:creationId xmlns:a16="http://schemas.microsoft.com/office/drawing/2014/main" id="{03A50C77-27B4-A573-BE55-B14737B566D2}"/>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156781" y="1433604"/>
            <a:ext cx="2188464" cy="2523744"/>
          </a:xfrm>
          <a:prstGeom prst="rect">
            <a:avLst/>
          </a:prstGeom>
        </p:spPr>
      </p:pic>
      <p:pic>
        <p:nvPicPr>
          <p:cNvPr id="11" name="Google Shape;93;p11" descr="Background pattern&#10;&#10;Description automatically generated">
            <a:extLst>
              <a:ext uri="{FF2B5EF4-FFF2-40B4-BE49-F238E27FC236}">
                <a16:creationId xmlns:a16="http://schemas.microsoft.com/office/drawing/2014/main" id="{36C2B880-B4C9-C70B-0484-110B7C65847A}"/>
              </a:ext>
            </a:extLst>
          </p:cNvPr>
          <p:cNvPicPr preferRelativeResize="0">
            <a:picLocks noChangeAspect="1"/>
          </p:cNvPicPr>
          <p:nvPr/>
        </p:nvPicPr>
        <p:blipFill rotWithShape="1">
          <a:blip r:embed="rId5">
            <a:alphaModFix/>
          </a:blip>
          <a:srcRect/>
          <a:stretch/>
        </p:blipFill>
        <p:spPr>
          <a:xfrm>
            <a:off x="0" y="-39721"/>
            <a:ext cx="883210" cy="1279209"/>
          </a:xfrm>
          <a:prstGeom prst="rect">
            <a:avLst/>
          </a:prstGeom>
          <a:noFill/>
          <a:ln>
            <a:noFill/>
          </a:ln>
        </p:spPr>
      </p:pic>
    </p:spTree>
    <p:extLst>
      <p:ext uri="{BB962C8B-B14F-4D97-AF65-F5344CB8AC3E}">
        <p14:creationId xmlns:p14="http://schemas.microsoft.com/office/powerpoint/2010/main" val="212132705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D0AEAB-4E11-9B75-2784-6816A2ED8236}"/>
              </a:ext>
            </a:extLst>
          </p:cNvPr>
          <p:cNvSpPr>
            <a:spLocks noGrp="1"/>
          </p:cNvSpPr>
          <p:nvPr>
            <p:ph type="title"/>
          </p:nvPr>
        </p:nvSpPr>
        <p:spPr/>
        <p:txBody>
          <a:bodyPr/>
          <a:lstStyle/>
          <a:p>
            <a:r>
              <a:rPr lang="en-US" dirty="0"/>
              <a:t>New Initiatives in 2024</a:t>
            </a:r>
          </a:p>
        </p:txBody>
      </p:sp>
      <p:sp>
        <p:nvSpPr>
          <p:cNvPr id="4" name="Rectangle 3">
            <a:extLst>
              <a:ext uri="{FF2B5EF4-FFF2-40B4-BE49-F238E27FC236}">
                <a16:creationId xmlns:a16="http://schemas.microsoft.com/office/drawing/2014/main" id="{CB3FE4F9-BA71-4752-C864-524F9C9F18C3}"/>
              </a:ext>
            </a:extLst>
          </p:cNvPr>
          <p:cNvSpPr/>
          <p:nvPr/>
        </p:nvSpPr>
        <p:spPr>
          <a:xfrm>
            <a:off x="271076" y="1748601"/>
            <a:ext cx="5824923" cy="477054"/>
          </a:xfrm>
          <a:prstGeom prst="rect">
            <a:avLst/>
          </a:prstGeom>
          <a:noFill/>
        </p:spPr>
        <p:txBody>
          <a:bodyPr wrap="square" lIns="91440" tIns="45720" rIns="91440" bIns="45720">
            <a:spAutoFit/>
            <a:scene3d>
              <a:camera prst="orthographicFront"/>
              <a:lightRig rig="soft" dir="t">
                <a:rot lat="0" lon="0" rev="15600000"/>
              </a:lightRig>
            </a:scene3d>
            <a:sp3d extrusionH="57150" prstMaterial="softEdge">
              <a:bevelT w="25400" h="38100"/>
            </a:sp3d>
          </a:bodyPr>
          <a:lstStyle/>
          <a:p>
            <a:pPr algn="ctr"/>
            <a:r>
              <a:rPr lang="en-US" sz="2500" b="1" cap="none" spc="0" dirty="0">
                <a:ln/>
                <a:solidFill>
                  <a:schemeClr val="accent4"/>
                </a:solidFill>
                <a:effectLst/>
              </a:rPr>
              <a:t>Company Recruitment &amp; Retainment</a:t>
            </a:r>
          </a:p>
        </p:txBody>
      </p:sp>
      <p:sp>
        <p:nvSpPr>
          <p:cNvPr id="15" name="TextBox 14">
            <a:extLst>
              <a:ext uri="{FF2B5EF4-FFF2-40B4-BE49-F238E27FC236}">
                <a16:creationId xmlns:a16="http://schemas.microsoft.com/office/drawing/2014/main" id="{041E8F6D-904C-9603-3F2C-2FBD1F89AD20}"/>
              </a:ext>
            </a:extLst>
          </p:cNvPr>
          <p:cNvSpPr txBox="1"/>
          <p:nvPr/>
        </p:nvSpPr>
        <p:spPr>
          <a:xfrm>
            <a:off x="271076" y="2360512"/>
            <a:ext cx="5824923" cy="2585323"/>
          </a:xfrm>
          <a:prstGeom prst="rect">
            <a:avLst/>
          </a:prstGeom>
          <a:noFill/>
        </p:spPr>
        <p:txBody>
          <a:bodyPr wrap="square">
            <a:spAutoFit/>
          </a:bodyPr>
          <a:lstStyle/>
          <a:p>
            <a:r>
              <a:rPr lang="en-US" dirty="0">
                <a:latin typeface="Calibri" panose="020F0502020204030204" pitchFamily="34" charset="0"/>
                <a:cs typeface="Times New Roman" panose="02020603050405020304" pitchFamily="18" charset="0"/>
              </a:rPr>
              <a:t>Emphasize strategic opportunities for joining IAB:</a:t>
            </a:r>
          </a:p>
          <a:p>
            <a:pPr marL="742950" lvl="1" indent="-285750">
              <a:buFont typeface="Arial" panose="020B0604020202020204" pitchFamily="34" charset="0"/>
              <a:buChar char="•"/>
            </a:pPr>
            <a:r>
              <a:rPr lang="en-US" sz="1600" b="1" dirty="0">
                <a:latin typeface="Calibri" panose="020F0502020204030204" pitchFamily="34" charset="0"/>
                <a:cs typeface="Times New Roman" panose="02020603050405020304" pitchFamily="18" charset="0"/>
              </a:rPr>
              <a:t>Global Visibility </a:t>
            </a:r>
            <a:r>
              <a:rPr lang="en-US" sz="1600" dirty="0">
                <a:latin typeface="Calibri" panose="020F0502020204030204" pitchFamily="34" charset="0"/>
                <a:cs typeface="Times New Roman" panose="02020603050405020304" pitchFamily="18" charset="0"/>
              </a:rPr>
              <a:t>to </a:t>
            </a:r>
            <a:r>
              <a:rPr lang="en-US" sz="1600" dirty="0">
                <a:effectLst/>
                <a:latin typeface="Calibri" panose="020F0502020204030204" pitchFamily="34" charset="0"/>
                <a:ea typeface="Calibri" panose="020F0502020204030204" pitchFamily="34" charset="0"/>
                <a:cs typeface="Times New Roman" panose="02020603050405020304" pitchFamily="18" charset="0"/>
              </a:rPr>
              <a:t>one of the largest and most active non-profit, international groups devoted to the advancement of Polymer Science (credibility, potential partnerships, networking) – </a:t>
            </a:r>
            <a:r>
              <a:rPr lang="en-US" sz="1600" i="1" dirty="0">
                <a:effectLst/>
                <a:latin typeface="Calibri" panose="020F0502020204030204" pitchFamily="34" charset="0"/>
                <a:ea typeface="Calibri" panose="020F0502020204030204" pitchFamily="34" charset="0"/>
                <a:cs typeface="Times New Roman" panose="02020603050405020304" pitchFamily="18" charset="0"/>
              </a:rPr>
              <a:t>especially valuable to smaller companies</a:t>
            </a:r>
            <a:endParaRPr lang="en-US" sz="1600" i="1" dirty="0">
              <a:latin typeface="Calibri" panose="020F0502020204030204" pitchFamily="34" charset="0"/>
              <a:cs typeface="Times New Roman" panose="02020603050405020304" pitchFamily="18" charset="0"/>
            </a:endParaRPr>
          </a:p>
          <a:p>
            <a:pPr marL="742950" lvl="1" indent="-285750">
              <a:buFont typeface="Arial" panose="020B0604020202020204" pitchFamily="34" charset="0"/>
              <a:buChar char="•"/>
            </a:pPr>
            <a:r>
              <a:rPr lang="en-US" sz="1600" b="1" dirty="0">
                <a:latin typeface="Calibri" panose="020F0502020204030204" pitchFamily="34" charset="0"/>
                <a:cs typeface="Times New Roman" panose="02020603050405020304" pitchFamily="18" charset="0"/>
              </a:rPr>
              <a:t>Sustained Growth </a:t>
            </a:r>
            <a:r>
              <a:rPr lang="en-US" sz="1600" dirty="0">
                <a:latin typeface="Calibri" panose="020F0502020204030204" pitchFamily="34" charset="0"/>
                <a:cs typeface="Times New Roman" panose="02020603050405020304" pitchFamily="18" charset="0"/>
              </a:rPr>
              <a:t>to recruit top talent in the polymer science and engineering community</a:t>
            </a:r>
          </a:p>
          <a:p>
            <a:pPr marL="742950" lvl="1" indent="-285750">
              <a:buFont typeface="Arial" panose="020B0604020202020204" pitchFamily="34" charset="0"/>
              <a:buChar char="•"/>
            </a:pPr>
            <a:r>
              <a:rPr lang="en-US" sz="1600" b="1" dirty="0"/>
              <a:t>Direct Research Exposure</a:t>
            </a:r>
            <a:r>
              <a:rPr lang="en-US" sz="1600" dirty="0"/>
              <a:t> to influence ACS POLY programming, events, and awards that highlight technical areas of interest to the company</a:t>
            </a:r>
            <a:r>
              <a:rPr lang="en-US" sz="1600" dirty="0">
                <a:effectLst/>
                <a:latin typeface="Calibri" panose="020F0502020204030204" pitchFamily="34" charset="0"/>
                <a:ea typeface="Calibri" panose="020F0502020204030204" pitchFamily="34" charset="0"/>
                <a:cs typeface="Times New Roman" panose="02020603050405020304" pitchFamily="18" charset="0"/>
              </a:rPr>
              <a:t> – </a:t>
            </a:r>
            <a:r>
              <a:rPr lang="en-US" sz="1600" i="1" dirty="0"/>
              <a:t>example to the right </a:t>
            </a:r>
            <a:r>
              <a:rPr lang="en-US" sz="1600" dirty="0">
                <a:sym typeface="Wingdings" pitchFamily="2" charset="2"/>
              </a:rPr>
              <a:t></a:t>
            </a:r>
            <a:endParaRPr lang="en-US" sz="1600" dirty="0"/>
          </a:p>
        </p:txBody>
      </p:sp>
      <p:sp>
        <p:nvSpPr>
          <p:cNvPr id="3" name="Footer Placeholder 2">
            <a:extLst>
              <a:ext uri="{FF2B5EF4-FFF2-40B4-BE49-F238E27FC236}">
                <a16:creationId xmlns:a16="http://schemas.microsoft.com/office/drawing/2014/main" id="{24CB72EC-EF71-3F84-6E70-169A3180F02F}"/>
              </a:ext>
            </a:extLst>
          </p:cNvPr>
          <p:cNvSpPr>
            <a:spLocks noGrp="1"/>
          </p:cNvSpPr>
          <p:nvPr>
            <p:ph type="ftr" sz="quarter" idx="11"/>
          </p:nvPr>
        </p:nvSpPr>
        <p:spPr/>
        <p:txBody>
          <a:bodyPr/>
          <a:lstStyle/>
          <a:p>
            <a:endParaRPr lang="en-US" dirty="0"/>
          </a:p>
        </p:txBody>
      </p:sp>
      <p:sp>
        <p:nvSpPr>
          <p:cNvPr id="18" name="TextBox 17">
            <a:extLst>
              <a:ext uri="{FF2B5EF4-FFF2-40B4-BE49-F238E27FC236}">
                <a16:creationId xmlns:a16="http://schemas.microsoft.com/office/drawing/2014/main" id="{7740F110-E263-1969-43B6-EA0BEFE4A197}"/>
              </a:ext>
            </a:extLst>
          </p:cNvPr>
          <p:cNvSpPr txBox="1"/>
          <p:nvPr/>
        </p:nvSpPr>
        <p:spPr>
          <a:xfrm>
            <a:off x="6257417" y="2097640"/>
            <a:ext cx="5824923" cy="2862322"/>
          </a:xfrm>
          <a:prstGeom prst="rect">
            <a:avLst/>
          </a:prstGeom>
          <a:noFill/>
        </p:spPr>
        <p:txBody>
          <a:bodyPr wrap="square">
            <a:spAutoFit/>
          </a:bodyPr>
          <a:lstStyle/>
          <a:p>
            <a:endParaRPr lang="en-US" sz="1600" dirty="0"/>
          </a:p>
          <a:p>
            <a:r>
              <a:rPr lang="en-US" dirty="0"/>
              <a:t>Form NING Spotlight Series to support early career scientists</a:t>
            </a:r>
          </a:p>
          <a:p>
            <a:pPr marL="742950" lvl="1" indent="-285750">
              <a:buFont typeface="Arial" panose="020B0604020202020204" pitchFamily="34" charset="0"/>
              <a:buChar char="•"/>
            </a:pPr>
            <a:r>
              <a:rPr lang="en-US" sz="1600" dirty="0"/>
              <a:t>Kickoff with invited ACS Polymers Au editorial: “Finding Professional Growth and Fulfillment for Early Career Polymer Scientists and Engineers in Industry”</a:t>
            </a:r>
          </a:p>
          <a:p>
            <a:pPr marL="742950" lvl="1" indent="-285750">
              <a:buFont typeface="Arial" panose="020B0604020202020204" pitchFamily="34" charset="0"/>
              <a:buChar char="•"/>
            </a:pPr>
            <a:endParaRPr lang="en-US" sz="1600" dirty="0"/>
          </a:p>
          <a:p>
            <a:r>
              <a:rPr lang="en-US" dirty="0"/>
              <a:t>Establish centralized IAB value proposition information sheet</a:t>
            </a:r>
          </a:p>
          <a:p>
            <a:pPr marL="742950" lvl="1" indent="-285750">
              <a:buFont typeface="Arial" panose="020B0604020202020204" pitchFamily="34" charset="0"/>
              <a:buChar char="•"/>
            </a:pPr>
            <a:r>
              <a:rPr lang="en-US" sz="1600" dirty="0"/>
              <a:t>Subcommittee working on revising small company IAB recruitment handout</a:t>
            </a:r>
          </a:p>
          <a:p>
            <a:pPr marL="742950" lvl="1" indent="-285750">
              <a:buFont typeface="Arial" panose="020B0604020202020204" pitchFamily="34" charset="0"/>
              <a:buChar char="•"/>
            </a:pPr>
            <a:r>
              <a:rPr lang="en-US" sz="1600" dirty="0"/>
              <a:t>Useful for handoff to upper management in justifying value</a:t>
            </a:r>
          </a:p>
          <a:p>
            <a:pPr marL="742950" lvl="1" indent="-285750">
              <a:buFont typeface="Arial" panose="020B0604020202020204" pitchFamily="34" charset="0"/>
              <a:buChar char="•"/>
            </a:pPr>
            <a:endParaRPr lang="en-US" sz="1600" dirty="0"/>
          </a:p>
        </p:txBody>
      </p:sp>
    </p:spTree>
    <p:extLst>
      <p:ext uri="{BB962C8B-B14F-4D97-AF65-F5344CB8AC3E}">
        <p14:creationId xmlns:p14="http://schemas.microsoft.com/office/powerpoint/2010/main" val="187311696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00809" y="3196033"/>
            <a:ext cx="10515600" cy="2852737"/>
          </a:xfrm>
        </p:spPr>
        <p:txBody>
          <a:bodyPr/>
          <a:lstStyle/>
          <a:p>
            <a:pPr algn="ctr"/>
            <a:r>
              <a:rPr lang="en-US" dirty="0"/>
              <a:t>Thank you</a:t>
            </a:r>
          </a:p>
        </p:txBody>
      </p:sp>
      <p:pic>
        <p:nvPicPr>
          <p:cNvPr id="4" name="Picture 28" descr="iabpin.jpg"/>
          <p:cNvPicPr>
            <a:picLocks noChangeAspect="1"/>
          </p:cNvPicPr>
          <p:nvPr/>
        </p:nvPicPr>
        <p:blipFill>
          <a:blip r:embed="rId2">
            <a:extLst>
              <a:ext uri="{28A0092B-C50C-407E-A947-70E740481C1C}">
                <a14:useLocalDpi xmlns:a14="http://schemas.microsoft.com/office/drawing/2010/main" val="0"/>
              </a:ext>
            </a:extLst>
          </a:blip>
          <a:srcRect b="3159"/>
          <a:stretch>
            <a:fillRect/>
          </a:stretch>
        </p:blipFill>
        <p:spPr bwMode="auto">
          <a:xfrm>
            <a:off x="5387671" y="3238896"/>
            <a:ext cx="1390104" cy="1716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Rectangle 5"/>
          <p:cNvSpPr/>
          <p:nvPr/>
        </p:nvSpPr>
        <p:spPr>
          <a:xfrm>
            <a:off x="450680" y="1007270"/>
            <a:ext cx="11324122" cy="1200329"/>
          </a:xfrm>
          <a:prstGeom prst="rect">
            <a:avLst/>
          </a:prstGeom>
          <a:noFill/>
        </p:spPr>
        <p:txBody>
          <a:bodyPr wrap="square" lIns="91440" tIns="45720" rIns="91440" bIns="45720">
            <a:spAutoFit/>
            <a:scene3d>
              <a:camera prst="orthographicFront"/>
              <a:lightRig rig="soft" dir="t">
                <a:rot lat="0" lon="0" rev="15600000"/>
              </a:lightRig>
            </a:scene3d>
            <a:sp3d extrusionH="57150" prstMaterial="softEdge">
              <a:bevelT w="25400" h="38100"/>
            </a:sp3d>
          </a:bodyPr>
          <a:lstStyle/>
          <a:p>
            <a:pPr algn="ctr"/>
            <a:r>
              <a:rPr lang="en-US" sz="3600" b="1" cap="none" spc="0" dirty="0">
                <a:ln/>
                <a:solidFill>
                  <a:schemeClr val="accent4"/>
                </a:solidFill>
                <a:effectLst/>
              </a:rPr>
              <a:t>Industrial Advisory Board</a:t>
            </a:r>
          </a:p>
          <a:p>
            <a:pPr algn="ctr"/>
            <a:endParaRPr lang="en-US" sz="3600" b="1" cap="none" spc="0" dirty="0">
              <a:ln/>
              <a:solidFill>
                <a:schemeClr val="accent4"/>
              </a:solidFill>
              <a:effectLst/>
            </a:endParaRPr>
          </a:p>
        </p:txBody>
      </p:sp>
      <p:cxnSp>
        <p:nvCxnSpPr>
          <p:cNvPr id="8" name="Straight Connector 7"/>
          <p:cNvCxnSpPr/>
          <p:nvPr/>
        </p:nvCxnSpPr>
        <p:spPr>
          <a:xfrm>
            <a:off x="700809" y="2888452"/>
            <a:ext cx="10790382" cy="0"/>
          </a:xfrm>
          <a:prstGeom prst="line">
            <a:avLst/>
          </a:prstGeom>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FB526E48-5274-4382-AE82-9F90E39CBEE3}"/>
              </a:ext>
            </a:extLst>
          </p:cNvPr>
          <p:cNvSpPr>
            <a:spLocks noGrp="1"/>
          </p:cNvSpPr>
          <p:nvPr>
            <p:ph type="ftr" sz="quarter" idx="11"/>
          </p:nvPr>
        </p:nvSpPr>
        <p:spPr/>
        <p:txBody>
          <a:bodyPr/>
          <a:lstStyle/>
          <a:p>
            <a:endParaRPr lang="en-US" dirty="0"/>
          </a:p>
        </p:txBody>
      </p:sp>
    </p:spTree>
    <p:extLst>
      <p:ext uri="{BB962C8B-B14F-4D97-AF65-F5344CB8AC3E}">
        <p14:creationId xmlns:p14="http://schemas.microsoft.com/office/powerpoint/2010/main" val="99194403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Them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F46216B-77A9-411A-B9D3-5023FCB70208}"/>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Office Theme</Template>
  <TotalTime>3770</TotalTime>
  <Words>1296</Words>
  <Application>Microsoft Office PowerPoint</Application>
  <PresentationFormat>Widescreen</PresentationFormat>
  <Paragraphs>216</Paragraphs>
  <Slides>14</Slides>
  <Notes>1</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14</vt:i4>
      </vt:variant>
    </vt:vector>
  </HeadingPairs>
  <TitlesOfParts>
    <vt:vector size="22" baseType="lpstr">
      <vt:lpstr>Arial</vt:lpstr>
      <vt:lpstr>Arial Black</vt:lpstr>
      <vt:lpstr>Calibri</vt:lpstr>
      <vt:lpstr>Calibri Light</vt:lpstr>
      <vt:lpstr>Times New Roman</vt:lpstr>
      <vt:lpstr>Wingdings</vt:lpstr>
      <vt:lpstr>Office Theme</vt:lpstr>
      <vt:lpstr>think-cell Slide</vt:lpstr>
      <vt:lpstr>POLY Industrial Advisory Board</vt:lpstr>
      <vt:lpstr>IAB Mission &amp; Officers 2024</vt:lpstr>
      <vt:lpstr>IAB Focuses for 2024</vt:lpstr>
      <vt:lpstr>Budget</vt:lpstr>
      <vt:lpstr>Budget- Expenses</vt:lpstr>
      <vt:lpstr>Fall 2024 Programming, Networking, and Awards</vt:lpstr>
      <vt:lpstr>PowerPoint Presentation</vt:lpstr>
      <vt:lpstr>New Initiatives in 2024</vt:lpstr>
      <vt:lpstr>Thank you</vt:lpstr>
      <vt:lpstr>Notes</vt:lpstr>
      <vt:lpstr>Spring 2024 Programming and Networking</vt:lpstr>
      <vt:lpstr>“Elevating the Power of Data for Materials and Chemical Scientists in Industry”</vt:lpstr>
      <vt:lpstr>“Finding Professional Growth and Fulfillment for Early Career Polymer Scientists and Engineers in Industry”</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LY Industrial Advisory Board</dc:title>
  <dc:creator>Lesia Linkous Pristas</dc:creator>
  <cp:lastModifiedBy>Brown, Hayley (HA)</cp:lastModifiedBy>
  <cp:revision>113</cp:revision>
  <cp:lastPrinted>2021-08-11T15:07:51Z</cp:lastPrinted>
  <dcterms:created xsi:type="dcterms:W3CDTF">2019-03-21T17:42:19Z</dcterms:created>
  <dcterms:modified xsi:type="dcterms:W3CDTF">2024-07-26T16:49:3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3aac0ad3-18d9-49e9-a80d-c985041778ba_Enabled">
    <vt:lpwstr>true</vt:lpwstr>
  </property>
  <property fmtid="{D5CDD505-2E9C-101B-9397-08002B2CF9AE}" pid="3" name="MSIP_Label_3aac0ad3-18d9-49e9-a80d-c985041778ba_SetDate">
    <vt:lpwstr>2022-07-29T20:14:44Z</vt:lpwstr>
  </property>
  <property fmtid="{D5CDD505-2E9C-101B-9397-08002B2CF9AE}" pid="4" name="MSIP_Label_3aac0ad3-18d9-49e9-a80d-c985041778ba_Method">
    <vt:lpwstr>Standard</vt:lpwstr>
  </property>
  <property fmtid="{D5CDD505-2E9C-101B-9397-08002B2CF9AE}" pid="5" name="MSIP_Label_3aac0ad3-18d9-49e9-a80d-c985041778ba_Name">
    <vt:lpwstr>General Business</vt:lpwstr>
  </property>
  <property fmtid="{D5CDD505-2E9C-101B-9397-08002B2CF9AE}" pid="6" name="MSIP_Label_3aac0ad3-18d9-49e9-a80d-c985041778ba_SiteId">
    <vt:lpwstr>c3e32f53-cb7f-4809-968d-1cc4ccc785fe</vt:lpwstr>
  </property>
  <property fmtid="{D5CDD505-2E9C-101B-9397-08002B2CF9AE}" pid="7" name="MSIP_Label_3aac0ad3-18d9-49e9-a80d-c985041778ba_ActionId">
    <vt:lpwstr>8bc4ed34-8d51-45a3-beeb-e2b6299b5efe</vt:lpwstr>
  </property>
  <property fmtid="{D5CDD505-2E9C-101B-9397-08002B2CF9AE}" pid="8" name="MSIP_Label_3aac0ad3-18d9-49e9-a80d-c985041778ba_ContentBits">
    <vt:lpwstr>2</vt:lpwstr>
  </property>
</Properties>
</file>